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3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4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5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9.xml" ContentType="application/vnd.openxmlformats-officedocument.theme+xml"/>
  <Override PartName="/ppt/tags/tag4.xml" ContentType="application/vnd.openxmlformats-officedocument.presentationml.tags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theme/theme11.xml" ContentType="application/vnd.openxmlformats-officedocument.theme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heme/theme12.xml" ContentType="application/vnd.openxmlformats-officedocument.theme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theme/theme13.xml" ContentType="application/vnd.openxmlformats-officedocument.theme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14.xml" ContentType="application/vnd.openxmlformats-officedocument.theme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theme/theme15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theme/theme16.xml" ContentType="application/vnd.openxmlformats-officedocument.them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98" r:id="rId3"/>
    <p:sldMasterId id="2147483736" r:id="rId4"/>
    <p:sldMasterId id="2147483812" r:id="rId5"/>
    <p:sldMasterId id="2147483850" r:id="rId6"/>
    <p:sldMasterId id="2147483938" r:id="rId7"/>
    <p:sldMasterId id="2147483982" r:id="rId8"/>
    <p:sldMasterId id="2147484026" r:id="rId9"/>
    <p:sldMasterId id="2147484070" r:id="rId10"/>
    <p:sldMasterId id="2147484158" r:id="rId11"/>
    <p:sldMasterId id="2147484182" r:id="rId12"/>
    <p:sldMasterId id="2147484278" r:id="rId13"/>
    <p:sldMasterId id="2147484326" r:id="rId14"/>
    <p:sldMasterId id="2147484354" r:id="rId15"/>
    <p:sldMasterId id="2147484369" r:id="rId16"/>
  </p:sldMasterIdLst>
  <p:notesMasterIdLst>
    <p:notesMasterId r:id="rId32"/>
  </p:notesMasterIdLst>
  <p:sldIdLst>
    <p:sldId id="256" r:id="rId17"/>
    <p:sldId id="277" r:id="rId18"/>
    <p:sldId id="278" r:id="rId19"/>
    <p:sldId id="257" r:id="rId20"/>
    <p:sldId id="258" r:id="rId21"/>
    <p:sldId id="260" r:id="rId22"/>
    <p:sldId id="268" r:id="rId23"/>
    <p:sldId id="275" r:id="rId24"/>
    <p:sldId id="269" r:id="rId25"/>
    <p:sldId id="261" r:id="rId26"/>
    <p:sldId id="273" r:id="rId27"/>
    <p:sldId id="263" r:id="rId28"/>
    <p:sldId id="264" r:id="rId29"/>
    <p:sldId id="265" r:id="rId30"/>
    <p:sldId id="266" r:id="rId3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20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5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6D4380-4C94-4101-A51F-0BC749996487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DAFD08-36D6-4F84-A397-A18DD82E5B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960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altLang="ru-RU" b="1" smtClean="0">
                <a:latin typeface="Arial" pitchFamily="34" charset="0"/>
              </a:rPr>
              <a:t>Slide 6: Everyone is at Risk</a:t>
            </a:r>
          </a:p>
          <a:p>
            <a:endParaRPr lang="en-GB" altLang="ru-RU" smtClean="0">
              <a:latin typeface="Arial" pitchFamily="34" charset="0"/>
            </a:endParaRPr>
          </a:p>
          <a:p>
            <a:r>
              <a:rPr lang="en-GB" altLang="ru-RU" smtClean="0">
                <a:latin typeface="Arial" pitchFamily="34" charset="0"/>
              </a:rPr>
              <a:t>Annual outbreaks of influenza continue to be associated with significant morbidity and mortality. </a:t>
            </a:r>
          </a:p>
          <a:p>
            <a:pPr>
              <a:buFont typeface="Symbol" pitchFamily="18" charset="2"/>
              <a:buChar char="·"/>
            </a:pPr>
            <a:r>
              <a:rPr lang="en-GB" altLang="ru-RU" smtClean="0">
                <a:latin typeface="Arial" pitchFamily="34" charset="0"/>
              </a:rPr>
              <a:t>An estimated 100 million people in the USA, Europe and Japan alone are affected each year. </a:t>
            </a:r>
          </a:p>
          <a:p>
            <a:pPr>
              <a:buFont typeface="Symbol" pitchFamily="18" charset="2"/>
              <a:buChar char="·"/>
            </a:pPr>
            <a:r>
              <a:rPr lang="en-GB" altLang="ru-RU" smtClean="0">
                <a:latin typeface="Arial" pitchFamily="34" charset="0"/>
              </a:rPr>
              <a:t>In an average year, one in ten adults and up to one in three children is affected by the influenza virus. </a:t>
            </a:r>
          </a:p>
          <a:p>
            <a:pPr>
              <a:buFont typeface="Symbol" pitchFamily="18" charset="2"/>
              <a:buChar char="·"/>
            </a:pPr>
            <a:r>
              <a:rPr lang="en-GB" altLang="ru-RU" smtClean="0">
                <a:latin typeface="Arial" pitchFamily="34" charset="0"/>
              </a:rPr>
              <a:t>Each year there are at least 10,000 – 40,000 deaths in the USA alone, particularly in the elderly and individuals with underlying chronic illness. Some 18-20% of all influenza-related deaths may occur in adults and approximately 6% in adults who prior to infection were otherwise well and healthy.</a:t>
            </a:r>
          </a:p>
          <a:p>
            <a:endParaRPr lang="en-GB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3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4515F10F-164D-4B83-896B-21BD75758D93}" type="slidenum">
              <a:rPr lang="ru-RU" altLang="ru-RU" sz="1200">
                <a:solidFill>
                  <a:prstClr val="black"/>
                </a:solidFill>
              </a:rPr>
              <a:pPr eaLnBrk="1" hangingPunct="1"/>
              <a:t>6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1063939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B8D6EA0D-D6EE-4D5C-AA91-FED53A184F42}" type="slidenum">
              <a:rPr lang="en-GB" altLang="ru-RU" sz="1200" smtClean="0">
                <a:solidFill>
                  <a:prstClr val="black"/>
                </a:solidFill>
                <a:latin typeface="Calibri" pitchFamily="34" charset="0"/>
                <a:ea typeface="MS PGothic" pitchFamily="34" charset="-128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 altLang="ru-RU" sz="1200" smtClean="0">
              <a:solidFill>
                <a:prstClr val="black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0639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6394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ru-RU" altLang="ru-RU" smtClean="0">
                <a:latin typeface="Arial" pitchFamily="34" charset="0"/>
                <a:cs typeface="Arial" pitchFamily="34" charset="0"/>
              </a:rPr>
              <a:t>Среднее время возникновения осложнений гриппа </a:t>
            </a:r>
          </a:p>
          <a:p>
            <a:pPr eaLnBrk="1" hangingPunct="1">
              <a:spcBef>
                <a:spcPct val="50000"/>
              </a:spcBef>
            </a:pPr>
            <a:endParaRPr lang="ru-RU" altLang="ru-RU" smtClean="0">
              <a:latin typeface="Arial" pitchFamily="34" charset="0"/>
              <a:cs typeface="Arial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nl-NL" altLang="ru-RU" smtClean="0">
                <a:latin typeface="Arial" pitchFamily="34" charset="0"/>
                <a:cs typeface="Arial" pitchFamily="34" charset="0"/>
              </a:rPr>
              <a:t>Influenza-related complications usually start after a brief period of improvement </a:t>
            </a:r>
            <a:endParaRPr lang="ru-RU" altLang="ru-RU" b="1" smtClean="0">
              <a:solidFill>
                <a:srgbClr val="80008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spcBef>
                <a:spcPct val="50000"/>
              </a:spcBef>
            </a:pPr>
            <a:r>
              <a:rPr lang="fr-BE" altLang="ru-RU" b="1" smtClean="0">
                <a:solidFill>
                  <a:srgbClr val="800080"/>
                </a:solidFill>
                <a:latin typeface="Arial" pitchFamily="34" charset="0"/>
                <a:cs typeface="Arial" pitchFamily="34" charset="0"/>
              </a:rPr>
              <a:t>Code :</a:t>
            </a:r>
            <a:r>
              <a:rPr lang="fr-BE" altLang="ru-RU" b="1" smtClean="0">
                <a:latin typeface="Arial" pitchFamily="34" charset="0"/>
                <a:cs typeface="Arial" pitchFamily="34" charset="0"/>
              </a:rPr>
              <a:t> FLU-2009-003</a:t>
            </a:r>
            <a:br>
              <a:rPr lang="fr-BE" altLang="ru-RU" b="1" smtClean="0">
                <a:latin typeface="Arial" pitchFamily="34" charset="0"/>
                <a:cs typeface="Arial" pitchFamily="34" charset="0"/>
              </a:rPr>
            </a:br>
            <a:r>
              <a:rPr lang="fr-BE" altLang="ru-RU" b="1" smtClean="0">
                <a:solidFill>
                  <a:srgbClr val="800080"/>
                </a:solidFill>
                <a:latin typeface="Arial" pitchFamily="34" charset="0"/>
                <a:cs typeface="Arial" pitchFamily="34" charset="0"/>
              </a:rPr>
              <a:t>Approved version:</a:t>
            </a:r>
            <a:r>
              <a:rPr lang="fr-BE" altLang="ru-RU" b="1" smtClean="0">
                <a:latin typeface="Arial" pitchFamily="34" charset="0"/>
                <a:cs typeface="Arial" pitchFamily="34" charset="0"/>
              </a:rPr>
              <a:t> 9 Jun 2009</a:t>
            </a:r>
            <a:endParaRPr lang="en-GB" altLang="ru-RU" b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eaLnBrk="1" hangingPunct="1"/>
            <a:fld id="{9B4CBB69-BDFF-405D-9F15-B53C8BF48706}" type="slidenum">
              <a:rPr lang="ru-RU" altLang="ru-RU" smtClean="0">
                <a:solidFill>
                  <a:prstClr val="black"/>
                </a:solidFill>
                <a:latin typeface="Arial" pitchFamily="34" charset="0"/>
              </a:rPr>
              <a:pPr eaLnBrk="1" hangingPunct="1"/>
              <a:t>7</a:t>
            </a:fld>
            <a:endParaRPr lang="ru-RU" alt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06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685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Итак, источником циркулирующей инфекции сегодня является больной человек. Его опасность зависит от количества вируса в отделяемом верхних дыхательных путей. Распространяется вирус воздушно-капельным путем при разговоре, чихании, кашле, плаче и при дыхании.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Сохранение вируса в воздушной среде зависит от степени дисперсности аэрозоля, от воздействия на него света, влаги, нагревания.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Имеются многочисленные данные, что вирус сохраняет свою активность и вирулентность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В жилых помещениях – 2-9 часов, с уменьшением влажности воздуха этот период укорачивается до 1 часа.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На металле и пластмассе – 24-48 часов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На бумаге, картоне, тканях – 8-12 часов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В мокроте- 2 нед.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На стекле – 10 суток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На руках человека – 5 мин.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Восприимчивость людей к гриппу очень высокая.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altLang="ru-RU" smtClean="0"/>
              <a:t>Наибольшую опасность грипп представляет на ранних сроках беременности, до 12 недель. Вирус гриппа может проникать через плаценту. При тяжелой форме гриппа нередки преждевременные роды или самопроизвольный аборт. Связь между заболеванием и риском пороков развития у плода не установлена. 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6C8A95C7-45EA-47F6-81BF-19D6B7A56454}" type="slidenum">
              <a:rPr lang="ru-RU" altLang="ru-RU" sz="1200">
                <a:solidFill>
                  <a:prstClr val="black"/>
                </a:solidFill>
              </a:rPr>
              <a:pPr eaLnBrk="1" hangingPunct="1"/>
              <a:t>10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1054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7763" y="687388"/>
            <a:ext cx="4567237" cy="3425825"/>
          </a:xfrm>
          <a:ln w="12700" cap="flat"/>
        </p:spPr>
      </p:sp>
      <p:sp>
        <p:nvSpPr>
          <p:cNvPr id="10547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62013" y="4343400"/>
            <a:ext cx="5083175" cy="45132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349" tIns="46175" rIns="92349" bIns="46175"/>
          <a:lstStyle/>
          <a:p>
            <a:pPr eaLnBrk="1" hangingPunct="1"/>
            <a:r>
              <a:rPr lang="ru-RU" altLang="ru-RU" sz="1000" u="sng" smtClean="0"/>
              <a:t>Сплит-вакцину</a:t>
            </a:r>
            <a:r>
              <a:rPr lang="ru-RU" altLang="ru-RU" sz="1000" smtClean="0"/>
              <a:t> получают путем расщепления вируса. В результате высвобождаются структурные белки вирусного матрикса и нуклеокапсида. Такие вакцины содержат все внутренние и поверхностные антигены, необходимые для адекватной индукции иммунитета, при этом в них нет реактогенных липидов. Сплит-вакцины менее реактогенны, чем цельновирионные и в связи с этим разрешены к применению у детей начиная с 6-месячного возраста.</a:t>
            </a:r>
          </a:p>
          <a:p>
            <a:pPr eaLnBrk="1" hangingPunct="1"/>
            <a:r>
              <a:rPr lang="ru-RU" altLang="ru-RU" sz="1000" smtClean="0"/>
              <a:t>Внутренние антигены вируса гриппа – иммунодоминантные фрагменты М (матриксного) и N (нуклеокапсидного) белков вириона содержат так называемые “консервативные” антигенные детерминанты, являющиеся общими для штаммов, принадлежащих к одному типу. В этой связи, биологическая значимость присутствия “консервативных” внутренних антигенов в вакцине очень велика, поскольку именно они индуцируют (хотя и со слабой степенью иммуногенности) образование антител, способных к перекрестной нейтрализации “неблизкородственных” штаммов диких вирусов. Это обстоятельство в какой-то мере объясняет более высокую профилактическую эффективность сплит-вакцин у детей (которые иммунны против ограниченного числа штаммов) по сравнению с субъединичными вакцинами, в составе которых внутренние антигены полностью отсутствуют.</a:t>
            </a:r>
          </a:p>
          <a:p>
            <a:pPr eaLnBrk="1" hangingPunct="1"/>
            <a:r>
              <a:rPr lang="ru-RU" altLang="ru-RU" sz="1000" u="sng" smtClean="0"/>
              <a:t>Субъединичные вакцины</a:t>
            </a:r>
            <a:r>
              <a:rPr lang="ru-RU" altLang="ru-RU" sz="1000" smtClean="0"/>
              <a:t> содержат только гемагглютинин и нейраминидазу (иногда в сниженных дозировках).</a:t>
            </a:r>
          </a:p>
          <a:p>
            <a:pPr eaLnBrk="1" hangingPunct="1"/>
            <a:r>
              <a:rPr lang="ru-RU" altLang="ru-RU" sz="1000" smtClean="0"/>
              <a:t>По сравнению со сплит-вакцинами системные и местные реакции выражены в равной степени (поскольку, как и сплит-вакцины, субъединичные вакцины не содержат реактогенных липидов), однако при этом субъединичные вакцины менее иммуногенны (из-за отсутствия внутренних белков вириона) и их эффективность оценивается на 10-15% ниже, чем у сплит-вакцин для всех групп населения.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A8BF1CB1-916C-4B29-BE36-E216F985ABE0}" type="slidenum">
              <a:rPr lang="ru-RU" altLang="ru-RU" sz="1200">
                <a:solidFill>
                  <a:prstClr val="black"/>
                </a:solidFill>
              </a:rPr>
              <a:pPr eaLnBrk="1" hangingPunct="1"/>
              <a:t>12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1055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2363" y="679450"/>
            <a:ext cx="4613275" cy="3459163"/>
          </a:xfrm>
          <a:ln w="12700" cap="flat">
            <a:solidFill>
              <a:schemeClr val="tx1"/>
            </a:solidFill>
          </a:ln>
        </p:spPr>
      </p:sp>
      <p:sp>
        <p:nvSpPr>
          <p:cNvPr id="10557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9763" y="4359275"/>
            <a:ext cx="5295900" cy="41132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940" tIns="46175" rIns="93940" bIns="46175"/>
          <a:lstStyle/>
          <a:p>
            <a:pPr eaLnBrk="1" hangingPunct="1"/>
            <a:r>
              <a:rPr lang="ru-RU" altLang="ru-RU" smtClean="0"/>
              <a:t>Местный иммунитет</a:t>
            </a:r>
          </a:p>
          <a:p>
            <a:pPr eaLnBrk="1" hangingPunct="1"/>
            <a:endParaRPr lang="ru-RU" altLang="ru-RU" smtClean="0"/>
          </a:p>
          <a:p>
            <a:pPr eaLnBrk="1" hangingPunct="1"/>
            <a:r>
              <a:rPr lang="ru-RU" altLang="ru-RU" smtClean="0"/>
              <a:t>У здоровых испытуемых исследовали кинетику местного иммунного ответа в верхних дыхательных путях после парентерального введения вакцины. Уже через 2 дня после вакцинации в миндалинах обнаружены плазматические клетки, секретирующие вирусоспецифические антитела (представлены преимущественно IgA и IgM), пик их количества наблюдался через 1 неделю.	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8BC528FC-8D16-48F0-BC9F-3389EFB4D1C5}" type="slidenum">
              <a:rPr lang="ru-RU" altLang="ru-RU" sz="1200">
                <a:solidFill>
                  <a:prstClr val="black"/>
                </a:solidFill>
              </a:rPr>
              <a:pPr eaLnBrk="1" hangingPunct="1"/>
              <a:t>13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1056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2363" y="679450"/>
            <a:ext cx="4613275" cy="3459163"/>
          </a:xfrm>
          <a:ln w="12700" cap="flat">
            <a:solidFill>
              <a:schemeClr val="tx1"/>
            </a:solidFill>
          </a:ln>
        </p:spPr>
      </p:sp>
      <p:sp>
        <p:nvSpPr>
          <p:cNvPr id="10567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3413" y="4359275"/>
            <a:ext cx="5302250" cy="41132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940" tIns="46175" rIns="93940" bIns="46175"/>
          <a:lstStyle/>
          <a:p>
            <a:pPr eaLnBrk="1" hangingPunct="1"/>
            <a:r>
              <a:rPr lang="ru-RU" altLang="ru-RU" smtClean="0"/>
              <a:t>ВАКСИГРИП стимулирует немедленный и значительный иммунный ответ как в верхних дыхательных путях, так и в периферической крови. </a:t>
            </a:r>
          </a:p>
          <a:p>
            <a:pPr eaLnBrk="1" hangingPunct="1"/>
            <a:endParaRPr lang="ru-RU" altLang="ru-RU" smtClean="0"/>
          </a:p>
          <a:p>
            <a:pPr eaLnBrk="1" hangingPunct="1"/>
            <a:r>
              <a:rPr lang="ru-RU" altLang="ru-RU" smtClean="0"/>
              <a:t>Результаты оценки быстроты развития гуморального иммунного ответа показывают, что нарастание титра гемагглютининингибирующих антител начинается в течение 2 дней после вакцинации. В сыворотке специфические антитела против вируса гриппа представлены преимущественно IgG и IgM, их титр нарастает спустя 1 неделю после вакцинации, пик достигается за 6 недель.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3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2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3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4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BA81D8-97B9-4B63-A253-1F9A2981FBD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086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3EBE5D-ACF4-4FE3-B2AE-F2C06A37914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4860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1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57200" y="3938593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D56F5F-D011-46AD-B567-FF45C1A036D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7426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3B156-265A-4938-82EC-8CCA36B1DA0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8908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1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1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71B86-CE59-4D4C-A853-483FACCFD18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009509"/>
      </p:ext>
    </p:extLst>
  </p:cSld>
  <p:clrMapOvr>
    <a:masterClrMapping/>
  </p:clrMapOvr>
  <p:transition spd="slow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981204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438069-7070-47BB-B154-F1816996090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41323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3460" y="82601"/>
            <a:ext cx="3790555" cy="920778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978101" y="1695324"/>
            <a:ext cx="3785809" cy="55053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5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101" y="4001960"/>
            <a:ext cx="3785809" cy="184670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3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978101" y="2631223"/>
            <a:ext cx="3785809" cy="1218112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1044854" y="1694356"/>
            <a:ext cx="2834105" cy="290164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ru-RU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4978101" y="2209354"/>
            <a:ext cx="3785809" cy="391639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1042132" y="4752001"/>
            <a:ext cx="2833523" cy="25347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 b="1"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1042135" y="5020898"/>
            <a:ext cx="2832821" cy="82777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pPr>
              <a:defRPr/>
            </a:pPr>
            <a:r>
              <a:rPr lang="ru-RU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197152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71021" indent="-190339">
              <a:buClr>
                <a:srgbClr val="575C5F"/>
              </a:buClr>
              <a:buFont typeface="Arial" pitchFamily="34" charset="0"/>
              <a:buChar char="•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425944" y="854889"/>
            <a:ext cx="8691563" cy="1223962"/>
          </a:xfrm>
          <a:prstGeom prst="rect">
            <a:avLst/>
          </a:prstGeom>
        </p:spPr>
        <p:txBody>
          <a:bodyPr/>
          <a:lstStyle>
            <a:lvl1pPr>
              <a:defRPr sz="2200" b="1">
                <a:solidFill>
                  <a:srgbClr val="0093BD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6" name="Espace réservé du contenu 8"/>
          <p:cNvSpPr>
            <a:spLocks noGrp="1"/>
          </p:cNvSpPr>
          <p:nvPr>
            <p:ph sz="quarter" idx="11"/>
          </p:nvPr>
        </p:nvSpPr>
        <p:spPr>
          <a:xfrm>
            <a:off x="443880" y="233650"/>
            <a:ext cx="3048000" cy="646113"/>
          </a:xfrm>
        </p:spPr>
        <p:txBody>
          <a:bodyPr/>
          <a:lstStyle>
            <a:lvl1pPr marL="0" indent="0">
              <a:buNone/>
              <a:defRPr sz="1800">
                <a:solidFill>
                  <a:srgbClr val="81888D"/>
                </a:solidFill>
              </a:defRPr>
            </a:lvl1pPr>
            <a:lvl4pPr marL="1243552" indent="0">
              <a:buNone/>
              <a:defRPr/>
            </a:lvl4pPr>
            <a:lvl5pPr marL="1713060" indent="0" algn="l">
              <a:buNone/>
              <a:defRPr sz="1800">
                <a:solidFill>
                  <a:srgbClr val="81888D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5480694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/>
        </p:spPr>
        <p:txBody>
          <a:bodyPr lIns="91364" tIns="45682" rIns="91364" bIns="45682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4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/>
        </p:spPr>
        <p:txBody>
          <a:bodyPr lIns="91364" tIns="45682" rIns="91364" bIns="45682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ru-RU" altLang="ru-RU" sz="32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52111"/>
      </p:ext>
    </p:extLst>
  </p:cSld>
  <p:clrMapOvr>
    <a:masterClrMapping/>
  </p:clrMapOvr>
  <p:transition spd="slow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19201"/>
            <a:ext cx="8229600" cy="23780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749680"/>
            <a:ext cx="8229600" cy="23796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3C1EF-4CE4-409A-A9A5-9E4DC9CC49AA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10/15/202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749A2-68E7-40D8-B62C-8C321085DC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185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C19E83-75C7-4695-BE46-33385F5AD693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7000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1287907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5"/>
          <p:cNvSpPr txBox="1">
            <a:spLocks noChangeArrowheads="1"/>
          </p:cNvSpPr>
          <p:nvPr userDrawn="1"/>
        </p:nvSpPr>
        <p:spPr bwMode="auto">
          <a:xfrm>
            <a:off x="34925" y="-26988"/>
            <a:ext cx="4249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7030A0"/>
                </a:solidFill>
              </a:rPr>
              <a:t>PUL 508-02-12</a:t>
            </a:r>
            <a:endParaRPr lang="en-GB" sz="1000" smtClean="0">
              <a:solidFill>
                <a:srgbClr val="7030A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864096"/>
          </a:xfrm>
        </p:spPr>
        <p:txBody>
          <a:bodyPr anchor="b"/>
          <a:lstStyle>
            <a:lvl1pPr>
              <a:defRPr sz="3200" b="0">
                <a:solidFill>
                  <a:schemeClr val="tx1"/>
                </a:solidFill>
                <a:effectLst/>
                <a:latin typeface="Corbe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468318" y="1412776"/>
            <a:ext cx="8207375" cy="4753074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latin typeface="+mn-lt"/>
              </a:defRPr>
            </a:lvl1pPr>
            <a:lvl2pPr marL="456815" indent="0">
              <a:buClr>
                <a:schemeClr val="bg2"/>
              </a:buClr>
              <a:buFont typeface="Arial" pitchFamily="34" charset="0"/>
              <a:buNone/>
              <a:defRPr sz="2200">
                <a:solidFill>
                  <a:schemeClr val="bg2"/>
                </a:solidFill>
                <a:latin typeface="+mn-lt"/>
              </a:defRPr>
            </a:lvl2pPr>
            <a:lvl3pPr marL="913632" indent="0">
              <a:buFont typeface="Arial" pitchFamily="34" charset="0"/>
              <a:buNone/>
              <a:defRPr sz="2000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0"/>
          </p:nvPr>
        </p:nvSpPr>
        <p:spPr>
          <a:xfrm>
            <a:off x="477838" y="5868989"/>
            <a:ext cx="8229600" cy="85883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 marL="456815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869067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андартное содержим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11"/>
          </p:nvPr>
        </p:nvSpPr>
        <p:spPr>
          <a:xfrm>
            <a:off x="539750" y="2097088"/>
            <a:ext cx="8064500" cy="3924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B65047-CFBD-4885-BFE4-595CBDA266BC}" type="datetime1">
              <a:rPr lang="ru-RU">
                <a:solidFill>
                  <a:srgbClr val="000000"/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8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C68DB7A-8A31-4C92-8F52-2F703A83928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09079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н низ пра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niz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67363"/>
            <a:ext cx="9144000" cy="1290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groprinosLogo.wm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6429375"/>
            <a:ext cx="20716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2985"/>
            <a:ext cx="8229600" cy="4429156"/>
          </a:xfrm>
        </p:spPr>
        <p:txBody>
          <a:bodyPr/>
          <a:lstStyle>
            <a:lvl2pPr>
              <a:buFont typeface="Arial" pitchFamily="34" charset="0"/>
              <a:buChar char="•"/>
              <a:defRPr/>
            </a:lvl2pPr>
            <a:lvl3pPr>
              <a:buClr>
                <a:srgbClr val="FFFF00"/>
              </a:buClr>
              <a:defRPr/>
            </a:lvl3pPr>
            <a:lvl4pPr>
              <a:buFont typeface="Arial" pitchFamily="34" charset="0"/>
              <a:buChar char="•"/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4000496" y="6215082"/>
            <a:ext cx="4714908" cy="642918"/>
          </a:xfrm>
        </p:spPr>
        <p:txBody>
          <a:bodyPr>
            <a:normAutofit/>
          </a:bodyPr>
          <a:lstStyle>
            <a:lvl1pPr marL="0" indent="0" algn="r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4568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6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4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2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0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8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7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5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488015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-36513" y="6638925"/>
            <a:ext cx="4249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7030A0"/>
                </a:solidFill>
              </a:rPr>
              <a:t>PUL 508-02-12</a:t>
            </a:r>
            <a:endParaRPr lang="en-GB" sz="1000" smtClean="0">
              <a:solidFill>
                <a:srgbClr val="7030A0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1547668" y="2708921"/>
            <a:ext cx="7169299" cy="1161405"/>
          </a:xfrm>
        </p:spPr>
        <p:txBody>
          <a:bodyPr anchor="ctr">
            <a:normAutofit/>
          </a:bodyPr>
          <a:lstStyle>
            <a:lvl1pPr algn="l">
              <a:defRPr sz="4400" b="0">
                <a:solidFill>
                  <a:schemeClr val="tx1"/>
                </a:solidFill>
                <a:latin typeface="Inform Cyr" pitchFamily="8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Текст 5"/>
          <p:cNvSpPr>
            <a:spLocks noGrp="1"/>
          </p:cNvSpPr>
          <p:nvPr>
            <p:ph type="body" sz="quarter" idx="11"/>
          </p:nvPr>
        </p:nvSpPr>
        <p:spPr>
          <a:xfrm>
            <a:off x="467546" y="2708921"/>
            <a:ext cx="936104" cy="1161405"/>
          </a:xfrm>
        </p:spPr>
        <p:txBody>
          <a:bodyPr anchor="ctr">
            <a:noAutofit/>
          </a:bodyPr>
          <a:lstStyle>
            <a:lvl1pPr algn="ctr">
              <a:defRPr sz="9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427045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8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904678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2058" indent="-452058">
              <a:buSzPct val="100000"/>
              <a:buFont typeface="+mj-lt"/>
              <a:buAutoNum type="arabicPeriod"/>
              <a:defRPr/>
            </a:lvl1pPr>
            <a:lvl2pPr marL="683638" indent="-231580">
              <a:defRPr/>
            </a:lvl2pPr>
            <a:lvl3pPr marL="913632" indent="-229994">
              <a:defRPr/>
            </a:lvl3pPr>
            <a:lvl4pPr marL="1145211" indent="-231580">
              <a:defRPr/>
            </a:lvl4pPr>
            <a:lvl5pPr marL="1367273" indent="-222064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46430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0" y="0"/>
            <a:ext cx="7242175" cy="1981200"/>
            <a:chOff x="0" y="0"/>
            <a:chExt cx="4562" cy="1248"/>
          </a:xfrm>
        </p:grpSpPr>
        <p:sp>
          <p:nvSpPr>
            <p:cNvPr id="6" name="Freeform 3"/>
            <p:cNvSpPr>
              <a:spLocks/>
            </p:cNvSpPr>
            <p:nvPr/>
          </p:nvSpPr>
          <p:spPr bwMode="hidden">
            <a:xfrm>
              <a:off x="0" y="583"/>
              <a:ext cx="4487" cy="665"/>
            </a:xfrm>
            <a:custGeom>
              <a:avLst/>
              <a:gdLst/>
              <a:ahLst/>
              <a:cxnLst>
                <a:cxn ang="0">
                  <a:pos x="4800" y="299"/>
                </a:cxn>
                <a:cxn ang="0">
                  <a:pos x="0" y="665"/>
                </a:cxn>
                <a:cxn ang="0">
                  <a:pos x="0" y="0"/>
                </a:cxn>
                <a:cxn ang="0">
                  <a:pos x="4806" y="1"/>
                </a:cxn>
                <a:cxn ang="0">
                  <a:pos x="4800" y="153"/>
                </a:cxn>
                <a:cxn ang="0">
                  <a:pos x="4800" y="299"/>
                </a:cxn>
              </a:cxnLst>
              <a:rect l="0" t="0" r="r" b="b"/>
              <a:pathLst>
                <a:path w="4806" h="665">
                  <a:moveTo>
                    <a:pt x="4800" y="299"/>
                  </a:moveTo>
                  <a:lnTo>
                    <a:pt x="0" y="665"/>
                  </a:lnTo>
                  <a:lnTo>
                    <a:pt x="0" y="0"/>
                  </a:lnTo>
                  <a:lnTo>
                    <a:pt x="4806" y="1"/>
                  </a:lnTo>
                  <a:lnTo>
                    <a:pt x="4800" y="153"/>
                  </a:lnTo>
                  <a:lnTo>
                    <a:pt x="4800" y="29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94118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FFFFFF"/>
                </a:solidFill>
              </a:endParaRP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hidden">
            <a:xfrm>
              <a:off x="0" y="0"/>
              <a:ext cx="4562" cy="1199"/>
            </a:xfrm>
            <a:custGeom>
              <a:avLst/>
              <a:gdLst>
                <a:gd name="T0" fmla="*/ 4560 w 4562"/>
                <a:gd name="T1" fmla="*/ 932 h 1199"/>
                <a:gd name="T2" fmla="*/ 0 w 4562"/>
                <a:gd name="T3" fmla="*/ 1199 h 1199"/>
                <a:gd name="T4" fmla="*/ 0 w 4562"/>
                <a:gd name="T5" fmla="*/ 0 h 1199"/>
                <a:gd name="T6" fmla="*/ 4562 w 4562"/>
                <a:gd name="T7" fmla="*/ 0 h 1199"/>
                <a:gd name="T8" fmla="*/ 4560 w 4562"/>
                <a:gd name="T9" fmla="*/ 932 h 1199"/>
                <a:gd name="T10" fmla="*/ 4560 w 4562"/>
                <a:gd name="T11" fmla="*/ 932 h 11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562" h="1199">
                  <a:moveTo>
                    <a:pt x="4560" y="932"/>
                  </a:moveTo>
                  <a:lnTo>
                    <a:pt x="0" y="1199"/>
                  </a:lnTo>
                  <a:lnTo>
                    <a:pt x="0" y="0"/>
                  </a:lnTo>
                  <a:lnTo>
                    <a:pt x="4562" y="0"/>
                  </a:lnTo>
                  <a:lnTo>
                    <a:pt x="4560" y="932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40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991" y="1600209"/>
            <a:ext cx="8229600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1pPr>
            <a:lvl2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2pPr>
            <a:lvl3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3pPr>
            <a:lvl4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4pPr>
            <a:lvl5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930" y="-28127"/>
            <a:ext cx="8143845" cy="864840"/>
          </a:xfrm>
          <a:prstGeom prst="rect">
            <a:avLst/>
          </a:prstGeom>
        </p:spPr>
        <p:txBody>
          <a:bodyPr rtlCol="0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ru-RU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827180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472413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815" indent="0" algn="ctr">
              <a:buNone/>
              <a:defRPr/>
            </a:lvl2pPr>
            <a:lvl3pPr marL="913632" indent="0" algn="ctr">
              <a:buNone/>
              <a:defRPr/>
            </a:lvl3pPr>
            <a:lvl4pPr marL="1370447" indent="0" algn="ctr">
              <a:buNone/>
              <a:defRPr/>
            </a:lvl4pPr>
            <a:lvl5pPr marL="1827264" indent="0" algn="ctr">
              <a:buNone/>
              <a:defRPr/>
            </a:lvl5pPr>
            <a:lvl6pPr marL="2284078" indent="0" algn="ctr">
              <a:buNone/>
              <a:defRPr/>
            </a:lvl6pPr>
            <a:lvl7pPr marL="2740895" indent="0" algn="ctr">
              <a:buNone/>
              <a:defRPr/>
            </a:lvl7pPr>
            <a:lvl8pPr marL="3197711" indent="0" algn="ctr">
              <a:buNone/>
              <a:defRPr/>
            </a:lvl8pPr>
            <a:lvl9pPr marL="365452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D164D7-7E41-4A41-BF4E-1423B77FF4E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04869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0BFD82-B06A-4592-8E38-9E2FA07EBEE6}" type="datetimeFigureOut">
              <a:rPr lang="ru-RU" altLang="en-US">
                <a:solidFill>
                  <a:srgbClr val="000000"/>
                </a:solidFill>
              </a:rPr>
              <a:pPr>
                <a:defRPr/>
              </a:pPr>
              <a:t>15.10.2021</a:t>
            </a:fld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914400" y="6629400"/>
            <a:ext cx="57150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AEFD81-91A1-4D5A-882F-42F531FFB961}" type="slidenum">
              <a:rPr lang="ru-RU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8511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60208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г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 flipV="1">
            <a:off x="874713" y="1058863"/>
            <a:ext cx="73469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507469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815" indent="0" algn="ctr">
              <a:buNone/>
              <a:defRPr/>
            </a:lvl2pPr>
            <a:lvl3pPr marL="913632" indent="0" algn="ctr">
              <a:buNone/>
              <a:defRPr/>
            </a:lvl3pPr>
            <a:lvl4pPr marL="1370447" indent="0" algn="ctr">
              <a:buNone/>
              <a:defRPr/>
            </a:lvl4pPr>
            <a:lvl5pPr marL="1827264" indent="0" algn="ctr">
              <a:buNone/>
              <a:defRPr/>
            </a:lvl5pPr>
            <a:lvl6pPr marL="2284078" indent="0" algn="ctr">
              <a:buNone/>
              <a:defRPr/>
            </a:lvl6pPr>
            <a:lvl7pPr marL="2740895" indent="0" algn="ctr">
              <a:buNone/>
              <a:defRPr/>
            </a:lvl7pPr>
            <a:lvl8pPr marL="3197711" indent="0" algn="ctr">
              <a:buNone/>
              <a:defRPr/>
            </a:lvl8pPr>
            <a:lvl9pPr marL="365452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D164D7-7E41-4A41-BF4E-1423B77FF4E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81519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3A7A61-A29E-4B85-A52D-AF2DE7D93CB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86962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5" y="2906717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5" indent="0">
              <a:buNone/>
              <a:defRPr sz="1800"/>
            </a:lvl2pPr>
            <a:lvl3pPr marL="913632" indent="0">
              <a:buNone/>
              <a:defRPr sz="1600"/>
            </a:lvl3pPr>
            <a:lvl4pPr marL="1370447" indent="0">
              <a:buNone/>
              <a:defRPr sz="1400"/>
            </a:lvl4pPr>
            <a:lvl5pPr marL="1827264" indent="0">
              <a:buNone/>
              <a:defRPr sz="1400"/>
            </a:lvl5pPr>
            <a:lvl6pPr marL="2284078" indent="0">
              <a:buNone/>
              <a:defRPr sz="1400"/>
            </a:lvl6pPr>
            <a:lvl7pPr marL="2740895" indent="0">
              <a:buNone/>
              <a:defRPr sz="1400"/>
            </a:lvl7pPr>
            <a:lvl8pPr marL="3197711" indent="0">
              <a:buNone/>
              <a:defRPr sz="1400"/>
            </a:lvl8pPr>
            <a:lvl9pPr marL="3654526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8C8B1-366A-4788-B21D-42395A26FA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6015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4F7C84-23AF-4DD2-9140-3A82FF46B94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11219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2" indent="0">
              <a:buNone/>
              <a:defRPr sz="1800" b="1"/>
            </a:lvl3pPr>
            <a:lvl4pPr marL="1370447" indent="0">
              <a:buNone/>
              <a:defRPr sz="1600" b="1"/>
            </a:lvl4pPr>
            <a:lvl5pPr marL="1827264" indent="0">
              <a:buNone/>
              <a:defRPr sz="1600" b="1"/>
            </a:lvl5pPr>
            <a:lvl6pPr marL="2284078" indent="0">
              <a:buNone/>
              <a:defRPr sz="1600" b="1"/>
            </a:lvl6pPr>
            <a:lvl7pPr marL="2740895" indent="0">
              <a:buNone/>
              <a:defRPr sz="1600" b="1"/>
            </a:lvl7pPr>
            <a:lvl8pPr marL="3197711" indent="0">
              <a:buNone/>
              <a:defRPr sz="1600" b="1"/>
            </a:lvl8pPr>
            <a:lvl9pPr marL="365452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9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2" indent="0">
              <a:buNone/>
              <a:defRPr sz="1800" b="1"/>
            </a:lvl3pPr>
            <a:lvl4pPr marL="1370447" indent="0">
              <a:buNone/>
              <a:defRPr sz="1600" b="1"/>
            </a:lvl4pPr>
            <a:lvl5pPr marL="1827264" indent="0">
              <a:buNone/>
              <a:defRPr sz="1600" b="1"/>
            </a:lvl5pPr>
            <a:lvl6pPr marL="2284078" indent="0">
              <a:buNone/>
              <a:defRPr sz="1600" b="1"/>
            </a:lvl6pPr>
            <a:lvl7pPr marL="2740895" indent="0">
              <a:buNone/>
              <a:defRPr sz="1600" b="1"/>
            </a:lvl7pPr>
            <a:lvl8pPr marL="3197711" indent="0">
              <a:buNone/>
              <a:defRPr sz="1600" b="1"/>
            </a:lvl8pPr>
            <a:lvl9pPr marL="365452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9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9A5826-78B5-4E42-AF9A-09CEE24A32C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79191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FEF9B-0EB1-4E9D-8153-B1138BA0AB1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7715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6B45B6-5FB4-40BE-BDEE-B46F5F574E1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23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3A7A61-A29E-4B85-A52D-AF2DE7D93CB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02157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1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2" indent="0">
              <a:buNone/>
              <a:defRPr sz="1000"/>
            </a:lvl3pPr>
            <a:lvl4pPr marL="1370447" indent="0">
              <a:buNone/>
              <a:defRPr sz="900"/>
            </a:lvl4pPr>
            <a:lvl5pPr marL="1827264" indent="0">
              <a:buNone/>
              <a:defRPr sz="900"/>
            </a:lvl5pPr>
            <a:lvl6pPr marL="2284078" indent="0">
              <a:buNone/>
              <a:defRPr sz="900"/>
            </a:lvl6pPr>
            <a:lvl7pPr marL="2740895" indent="0">
              <a:buNone/>
              <a:defRPr sz="900"/>
            </a:lvl7pPr>
            <a:lvl8pPr marL="3197711" indent="0">
              <a:buNone/>
              <a:defRPr sz="900"/>
            </a:lvl8pPr>
            <a:lvl9pPr marL="365452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796137-1EF4-400E-8D5F-B2551A0137D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54705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15" indent="0">
              <a:buNone/>
              <a:defRPr sz="2800"/>
            </a:lvl2pPr>
            <a:lvl3pPr marL="913632" indent="0">
              <a:buNone/>
              <a:defRPr sz="2400"/>
            </a:lvl3pPr>
            <a:lvl4pPr marL="1370447" indent="0">
              <a:buNone/>
              <a:defRPr sz="2000"/>
            </a:lvl4pPr>
            <a:lvl5pPr marL="1827264" indent="0">
              <a:buNone/>
              <a:defRPr sz="2000"/>
            </a:lvl5pPr>
            <a:lvl6pPr marL="2284078" indent="0">
              <a:buNone/>
              <a:defRPr sz="2000"/>
            </a:lvl6pPr>
            <a:lvl7pPr marL="2740895" indent="0">
              <a:buNone/>
              <a:defRPr sz="2000"/>
            </a:lvl7pPr>
            <a:lvl8pPr marL="3197711" indent="0">
              <a:buNone/>
              <a:defRPr sz="2000"/>
            </a:lvl8pPr>
            <a:lvl9pPr marL="3654526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2" indent="0">
              <a:buNone/>
              <a:defRPr sz="1000"/>
            </a:lvl3pPr>
            <a:lvl4pPr marL="1370447" indent="0">
              <a:buNone/>
              <a:defRPr sz="900"/>
            </a:lvl4pPr>
            <a:lvl5pPr marL="1827264" indent="0">
              <a:buNone/>
              <a:defRPr sz="900"/>
            </a:lvl5pPr>
            <a:lvl6pPr marL="2284078" indent="0">
              <a:buNone/>
              <a:defRPr sz="900"/>
            </a:lvl6pPr>
            <a:lvl7pPr marL="2740895" indent="0">
              <a:buNone/>
              <a:defRPr sz="900"/>
            </a:lvl7pPr>
            <a:lvl8pPr marL="3197711" indent="0">
              <a:buNone/>
              <a:defRPr sz="900"/>
            </a:lvl8pPr>
            <a:lvl9pPr marL="365452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5C5F5-424B-4B54-9F3C-576384278F6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04248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CDEDA2-64C4-4C0D-838E-B6B2B704930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32262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2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F17BDB-BAC9-4D6F-81C0-9F40BFB77DF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14992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2AE829-F297-428C-A89E-68F10DE72AF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34664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40F7DA-3442-439E-9F04-30F57C2A0AE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43697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CE3B3-74B8-428A-BE52-9BBDA2BC9E2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59183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BA81D8-97B9-4B63-A253-1F9A2981FBD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809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3EBE5D-ACF4-4FE3-B2AE-F2C06A37914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70611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1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57200" y="3938593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D56F5F-D011-46AD-B567-FF45C1A036D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7650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5" y="2906717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5" indent="0">
              <a:buNone/>
              <a:defRPr sz="1800"/>
            </a:lvl2pPr>
            <a:lvl3pPr marL="913632" indent="0">
              <a:buNone/>
              <a:defRPr sz="1600"/>
            </a:lvl3pPr>
            <a:lvl4pPr marL="1370447" indent="0">
              <a:buNone/>
              <a:defRPr sz="1400"/>
            </a:lvl4pPr>
            <a:lvl5pPr marL="1827264" indent="0">
              <a:buNone/>
              <a:defRPr sz="1400"/>
            </a:lvl5pPr>
            <a:lvl6pPr marL="2284078" indent="0">
              <a:buNone/>
              <a:defRPr sz="1400"/>
            </a:lvl6pPr>
            <a:lvl7pPr marL="2740895" indent="0">
              <a:buNone/>
              <a:defRPr sz="1400"/>
            </a:lvl7pPr>
            <a:lvl8pPr marL="3197711" indent="0">
              <a:buNone/>
              <a:defRPr sz="1400"/>
            </a:lvl8pPr>
            <a:lvl9pPr marL="3654526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8C8B1-366A-4788-B21D-42395A26FA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00737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3B156-265A-4938-82EC-8CCA36B1DA0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0806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1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1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71B86-CE59-4D4C-A853-483FACCFD18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101584"/>
      </p:ext>
    </p:extLst>
  </p:cSld>
  <p:clrMapOvr>
    <a:masterClrMapping/>
  </p:clrMapOvr>
  <p:transition spd="slow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981204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438069-7070-47BB-B154-F1816996090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41430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3460" y="82601"/>
            <a:ext cx="3790555" cy="920778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978101" y="1695324"/>
            <a:ext cx="3785809" cy="55053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5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101" y="4001960"/>
            <a:ext cx="3785809" cy="184670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3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978101" y="2631223"/>
            <a:ext cx="3785809" cy="1218112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1044854" y="1694356"/>
            <a:ext cx="2834105" cy="290164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ru-RU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4978101" y="2209354"/>
            <a:ext cx="3785809" cy="391639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1042132" y="4752001"/>
            <a:ext cx="2833523" cy="25347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 b="1"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1042135" y="5020898"/>
            <a:ext cx="2832821" cy="82777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pPr>
              <a:defRPr/>
            </a:pPr>
            <a:r>
              <a:rPr lang="ru-RU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684848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71021" indent="-190339">
              <a:buClr>
                <a:srgbClr val="575C5F"/>
              </a:buClr>
              <a:buFont typeface="Arial" pitchFamily="34" charset="0"/>
              <a:buChar char="•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425944" y="854889"/>
            <a:ext cx="8691563" cy="1223962"/>
          </a:xfrm>
          <a:prstGeom prst="rect">
            <a:avLst/>
          </a:prstGeom>
        </p:spPr>
        <p:txBody>
          <a:bodyPr/>
          <a:lstStyle>
            <a:lvl1pPr>
              <a:defRPr sz="2200" b="1">
                <a:solidFill>
                  <a:srgbClr val="0093BD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6" name="Espace réservé du contenu 8"/>
          <p:cNvSpPr>
            <a:spLocks noGrp="1"/>
          </p:cNvSpPr>
          <p:nvPr>
            <p:ph sz="quarter" idx="11"/>
          </p:nvPr>
        </p:nvSpPr>
        <p:spPr>
          <a:xfrm>
            <a:off x="443880" y="233650"/>
            <a:ext cx="3048000" cy="646113"/>
          </a:xfrm>
        </p:spPr>
        <p:txBody>
          <a:bodyPr/>
          <a:lstStyle>
            <a:lvl1pPr marL="0" indent="0">
              <a:buNone/>
              <a:defRPr sz="1800">
                <a:solidFill>
                  <a:srgbClr val="81888D"/>
                </a:solidFill>
              </a:defRPr>
            </a:lvl1pPr>
            <a:lvl4pPr marL="1243552" indent="0">
              <a:buNone/>
              <a:defRPr/>
            </a:lvl4pPr>
            <a:lvl5pPr marL="1713060" indent="0" algn="l">
              <a:buNone/>
              <a:defRPr sz="1800">
                <a:solidFill>
                  <a:srgbClr val="81888D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5237732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/>
        </p:spPr>
        <p:txBody>
          <a:bodyPr lIns="91364" tIns="45682" rIns="91364" bIns="45682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4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/>
        </p:spPr>
        <p:txBody>
          <a:bodyPr lIns="91364" tIns="45682" rIns="91364" bIns="45682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ru-RU" altLang="ru-RU" sz="32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6010039"/>
      </p:ext>
    </p:extLst>
  </p:cSld>
  <p:clrMapOvr>
    <a:masterClrMapping/>
  </p:clrMapOvr>
  <p:transition spd="slow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19201"/>
            <a:ext cx="8229600" cy="23780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749680"/>
            <a:ext cx="8229600" cy="23796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3C1EF-4CE4-409A-A9A5-9E4DC9CC49AA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10/15/202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749A2-68E7-40D8-B62C-8C321085DC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58295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C19E83-75C7-4695-BE46-33385F5AD693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3245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9543557"/>
      </p:ext>
    </p:extLst>
  </p:cSld>
  <p:clrMapOvr>
    <a:masterClrMapping/>
  </p:clrMapOvr>
  <p:transition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5"/>
          <p:cNvSpPr txBox="1">
            <a:spLocks noChangeArrowheads="1"/>
          </p:cNvSpPr>
          <p:nvPr userDrawn="1"/>
        </p:nvSpPr>
        <p:spPr bwMode="auto">
          <a:xfrm>
            <a:off x="34925" y="-26988"/>
            <a:ext cx="4249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7030A0"/>
                </a:solidFill>
              </a:rPr>
              <a:t>PUL 508-02-12</a:t>
            </a:r>
            <a:endParaRPr lang="en-GB" sz="1000" smtClean="0">
              <a:solidFill>
                <a:srgbClr val="7030A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864096"/>
          </a:xfrm>
        </p:spPr>
        <p:txBody>
          <a:bodyPr anchor="b"/>
          <a:lstStyle>
            <a:lvl1pPr>
              <a:defRPr sz="3200" b="0">
                <a:solidFill>
                  <a:schemeClr val="tx1"/>
                </a:solidFill>
                <a:effectLst/>
                <a:latin typeface="Corbe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468318" y="1412776"/>
            <a:ext cx="8207375" cy="4753074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latin typeface="+mn-lt"/>
              </a:defRPr>
            </a:lvl1pPr>
            <a:lvl2pPr marL="456815" indent="0">
              <a:buClr>
                <a:schemeClr val="bg2"/>
              </a:buClr>
              <a:buFont typeface="Arial" pitchFamily="34" charset="0"/>
              <a:buNone/>
              <a:defRPr sz="2200">
                <a:solidFill>
                  <a:schemeClr val="bg2"/>
                </a:solidFill>
                <a:latin typeface="+mn-lt"/>
              </a:defRPr>
            </a:lvl2pPr>
            <a:lvl3pPr marL="913632" indent="0">
              <a:buFont typeface="Arial" pitchFamily="34" charset="0"/>
              <a:buNone/>
              <a:defRPr sz="2000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0"/>
          </p:nvPr>
        </p:nvSpPr>
        <p:spPr>
          <a:xfrm>
            <a:off x="477838" y="5868989"/>
            <a:ext cx="8229600" cy="85883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 marL="456815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3956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4F7C84-23AF-4DD2-9140-3A82FF46B94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41343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андартное содержим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11"/>
          </p:nvPr>
        </p:nvSpPr>
        <p:spPr>
          <a:xfrm>
            <a:off x="539750" y="2097088"/>
            <a:ext cx="8064500" cy="3924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B65047-CFBD-4885-BFE4-595CBDA266BC}" type="datetime1">
              <a:rPr lang="ru-RU">
                <a:solidFill>
                  <a:srgbClr val="000000"/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8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C68DB7A-8A31-4C92-8F52-2F703A83928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78699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н низ пра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niz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67363"/>
            <a:ext cx="9144000" cy="1290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groprinosLogo.wm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6429375"/>
            <a:ext cx="20716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2985"/>
            <a:ext cx="8229600" cy="4429156"/>
          </a:xfrm>
        </p:spPr>
        <p:txBody>
          <a:bodyPr/>
          <a:lstStyle>
            <a:lvl2pPr>
              <a:buFont typeface="Arial" pitchFamily="34" charset="0"/>
              <a:buChar char="•"/>
              <a:defRPr/>
            </a:lvl2pPr>
            <a:lvl3pPr>
              <a:buClr>
                <a:srgbClr val="FFFF00"/>
              </a:buClr>
              <a:defRPr/>
            </a:lvl3pPr>
            <a:lvl4pPr>
              <a:buFont typeface="Arial" pitchFamily="34" charset="0"/>
              <a:buChar char="•"/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4000496" y="6215082"/>
            <a:ext cx="4714908" cy="642918"/>
          </a:xfrm>
        </p:spPr>
        <p:txBody>
          <a:bodyPr>
            <a:normAutofit/>
          </a:bodyPr>
          <a:lstStyle>
            <a:lvl1pPr marL="0" indent="0" algn="r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4568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6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4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2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0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8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7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5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849826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-36513" y="6638925"/>
            <a:ext cx="4249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7030A0"/>
                </a:solidFill>
              </a:rPr>
              <a:t>PUL 508-02-12</a:t>
            </a:r>
            <a:endParaRPr lang="en-GB" sz="1000" smtClean="0">
              <a:solidFill>
                <a:srgbClr val="7030A0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1547668" y="2708921"/>
            <a:ext cx="7169299" cy="1161405"/>
          </a:xfrm>
        </p:spPr>
        <p:txBody>
          <a:bodyPr anchor="ctr">
            <a:normAutofit/>
          </a:bodyPr>
          <a:lstStyle>
            <a:lvl1pPr algn="l">
              <a:defRPr sz="4400" b="0">
                <a:solidFill>
                  <a:schemeClr val="tx1"/>
                </a:solidFill>
                <a:latin typeface="Inform Cyr" pitchFamily="8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Текст 5"/>
          <p:cNvSpPr>
            <a:spLocks noGrp="1"/>
          </p:cNvSpPr>
          <p:nvPr>
            <p:ph type="body" sz="quarter" idx="11"/>
          </p:nvPr>
        </p:nvSpPr>
        <p:spPr>
          <a:xfrm>
            <a:off x="467546" y="2708921"/>
            <a:ext cx="936104" cy="1161405"/>
          </a:xfrm>
        </p:spPr>
        <p:txBody>
          <a:bodyPr anchor="ctr">
            <a:noAutofit/>
          </a:bodyPr>
          <a:lstStyle>
            <a:lvl1pPr algn="ctr">
              <a:defRPr sz="9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161159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8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88819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2058" indent="-452058">
              <a:buSzPct val="100000"/>
              <a:buFont typeface="+mj-lt"/>
              <a:buAutoNum type="arabicPeriod"/>
              <a:defRPr/>
            </a:lvl1pPr>
            <a:lvl2pPr marL="683638" indent="-231580">
              <a:defRPr/>
            </a:lvl2pPr>
            <a:lvl3pPr marL="913632" indent="-229994">
              <a:defRPr/>
            </a:lvl3pPr>
            <a:lvl4pPr marL="1145211" indent="-231580">
              <a:defRPr/>
            </a:lvl4pPr>
            <a:lvl5pPr marL="1367273" indent="-222064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74947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0" y="0"/>
            <a:ext cx="7242175" cy="1981200"/>
            <a:chOff x="0" y="0"/>
            <a:chExt cx="4562" cy="1248"/>
          </a:xfrm>
        </p:grpSpPr>
        <p:sp>
          <p:nvSpPr>
            <p:cNvPr id="6" name="Freeform 3"/>
            <p:cNvSpPr>
              <a:spLocks/>
            </p:cNvSpPr>
            <p:nvPr/>
          </p:nvSpPr>
          <p:spPr bwMode="hidden">
            <a:xfrm>
              <a:off x="0" y="583"/>
              <a:ext cx="4487" cy="665"/>
            </a:xfrm>
            <a:custGeom>
              <a:avLst/>
              <a:gdLst/>
              <a:ahLst/>
              <a:cxnLst>
                <a:cxn ang="0">
                  <a:pos x="4800" y="299"/>
                </a:cxn>
                <a:cxn ang="0">
                  <a:pos x="0" y="665"/>
                </a:cxn>
                <a:cxn ang="0">
                  <a:pos x="0" y="0"/>
                </a:cxn>
                <a:cxn ang="0">
                  <a:pos x="4806" y="1"/>
                </a:cxn>
                <a:cxn ang="0">
                  <a:pos x="4800" y="153"/>
                </a:cxn>
                <a:cxn ang="0">
                  <a:pos x="4800" y="299"/>
                </a:cxn>
              </a:cxnLst>
              <a:rect l="0" t="0" r="r" b="b"/>
              <a:pathLst>
                <a:path w="4806" h="665">
                  <a:moveTo>
                    <a:pt x="4800" y="299"/>
                  </a:moveTo>
                  <a:lnTo>
                    <a:pt x="0" y="665"/>
                  </a:lnTo>
                  <a:lnTo>
                    <a:pt x="0" y="0"/>
                  </a:lnTo>
                  <a:lnTo>
                    <a:pt x="4806" y="1"/>
                  </a:lnTo>
                  <a:lnTo>
                    <a:pt x="4800" y="153"/>
                  </a:lnTo>
                  <a:lnTo>
                    <a:pt x="4800" y="29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94118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FFFFFF"/>
                </a:solidFill>
              </a:endParaRP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hidden">
            <a:xfrm>
              <a:off x="0" y="0"/>
              <a:ext cx="4562" cy="1199"/>
            </a:xfrm>
            <a:custGeom>
              <a:avLst/>
              <a:gdLst>
                <a:gd name="T0" fmla="*/ 4560 w 4562"/>
                <a:gd name="T1" fmla="*/ 932 h 1199"/>
                <a:gd name="T2" fmla="*/ 0 w 4562"/>
                <a:gd name="T3" fmla="*/ 1199 h 1199"/>
                <a:gd name="T4" fmla="*/ 0 w 4562"/>
                <a:gd name="T5" fmla="*/ 0 h 1199"/>
                <a:gd name="T6" fmla="*/ 4562 w 4562"/>
                <a:gd name="T7" fmla="*/ 0 h 1199"/>
                <a:gd name="T8" fmla="*/ 4560 w 4562"/>
                <a:gd name="T9" fmla="*/ 932 h 1199"/>
                <a:gd name="T10" fmla="*/ 4560 w 4562"/>
                <a:gd name="T11" fmla="*/ 932 h 11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562" h="1199">
                  <a:moveTo>
                    <a:pt x="4560" y="932"/>
                  </a:moveTo>
                  <a:lnTo>
                    <a:pt x="0" y="1199"/>
                  </a:lnTo>
                  <a:lnTo>
                    <a:pt x="0" y="0"/>
                  </a:lnTo>
                  <a:lnTo>
                    <a:pt x="4562" y="0"/>
                  </a:lnTo>
                  <a:lnTo>
                    <a:pt x="4560" y="932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40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991" y="1600209"/>
            <a:ext cx="8229600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1pPr>
            <a:lvl2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2pPr>
            <a:lvl3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3pPr>
            <a:lvl4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4pPr>
            <a:lvl5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930" y="-28127"/>
            <a:ext cx="8143845" cy="864840"/>
          </a:xfrm>
          <a:prstGeom prst="rect">
            <a:avLst/>
          </a:prstGeom>
        </p:spPr>
        <p:txBody>
          <a:bodyPr rtlCol="0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ru-RU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855058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9717603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0BFD82-B06A-4592-8E38-9E2FA07EBEE6}" type="datetimeFigureOut">
              <a:rPr lang="ru-RU" altLang="en-US">
                <a:solidFill>
                  <a:srgbClr val="000000"/>
                </a:solidFill>
              </a:rPr>
              <a:pPr>
                <a:defRPr/>
              </a:pPr>
              <a:t>15.10.2021</a:t>
            </a:fld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914400" y="6629400"/>
            <a:ext cx="57150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AEFD81-91A1-4D5A-882F-42F531FFB961}" type="slidenum">
              <a:rPr lang="ru-RU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32148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790705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г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 flipV="1">
            <a:off x="874713" y="1058863"/>
            <a:ext cx="73469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99092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2" indent="0">
              <a:buNone/>
              <a:defRPr sz="1800" b="1"/>
            </a:lvl3pPr>
            <a:lvl4pPr marL="1370447" indent="0">
              <a:buNone/>
              <a:defRPr sz="1600" b="1"/>
            </a:lvl4pPr>
            <a:lvl5pPr marL="1827264" indent="0">
              <a:buNone/>
              <a:defRPr sz="1600" b="1"/>
            </a:lvl5pPr>
            <a:lvl6pPr marL="2284078" indent="0">
              <a:buNone/>
              <a:defRPr sz="1600" b="1"/>
            </a:lvl6pPr>
            <a:lvl7pPr marL="2740895" indent="0">
              <a:buNone/>
              <a:defRPr sz="1600" b="1"/>
            </a:lvl7pPr>
            <a:lvl8pPr marL="3197711" indent="0">
              <a:buNone/>
              <a:defRPr sz="1600" b="1"/>
            </a:lvl8pPr>
            <a:lvl9pPr marL="365452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9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2" indent="0">
              <a:buNone/>
              <a:defRPr sz="1800" b="1"/>
            </a:lvl3pPr>
            <a:lvl4pPr marL="1370447" indent="0">
              <a:buNone/>
              <a:defRPr sz="1600" b="1"/>
            </a:lvl4pPr>
            <a:lvl5pPr marL="1827264" indent="0">
              <a:buNone/>
              <a:defRPr sz="1600" b="1"/>
            </a:lvl5pPr>
            <a:lvl6pPr marL="2284078" indent="0">
              <a:buNone/>
              <a:defRPr sz="1600" b="1"/>
            </a:lvl6pPr>
            <a:lvl7pPr marL="2740895" indent="0">
              <a:buNone/>
              <a:defRPr sz="1600" b="1"/>
            </a:lvl7pPr>
            <a:lvl8pPr marL="3197711" indent="0">
              <a:buNone/>
              <a:defRPr sz="1600" b="1"/>
            </a:lvl8pPr>
            <a:lvl9pPr marL="365452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9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9A5826-78B5-4E42-AF9A-09CEE24A32C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17618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811ABF-71F9-4EB9-9C05-7843BC8DDF9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50061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43AEA-1FBD-4767-8B09-EC4C25AF2C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32162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1507B-7C40-4606-B18F-82FF7D5CAE4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39552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28857-8860-4B63-9687-1D403B01A45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77530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217053-2AAC-4879-9277-E55CE48453B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02309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6E71F-EBE1-45B1-89A7-D4392F74AE5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93991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535341-AA51-402B-99CF-7187D367E21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96433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D2BB4-ABBB-478B-9600-91CC872702B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0620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9DBEC3-9BEC-4451-BA36-735A734D223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76526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1B1F1B-2E68-485A-B3F3-0D07AC1399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7270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FEF9B-0EB1-4E9D-8153-B1138BA0AB1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76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F165FC-1B14-4DE4-9757-D29B218EC65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24995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D664E3-9763-4003-BF96-C351E0222B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00438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6D1158-E418-41AE-A522-3C7B074EA10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6881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2B109C-0581-4919-B925-A91A2A420AC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04086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747EA0-7519-49BF-8CDB-91AAAE26CA0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10876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F95C0-C0E8-4179-9C19-87768962D32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85985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BEBD8B-21B7-4F93-9AAA-EEB576970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10932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Заголовок и 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D88875-15D1-4691-917D-3D2736CF3D5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12375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Заголовок, 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BECAFF-1AF5-4983-8B10-FF3608216FC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73445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73273-43EC-4373-A2D7-DEBFD3E0E26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6336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6B45B6-5FB4-40BE-BDEE-B46F5F574E1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60116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F59502-5EBE-4B24-8880-0E5A394A098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51476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6E749C-EF3D-458D-9589-066BC4D5508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0405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EE2DA8-E6E5-43C3-99AF-5B729D261B3A}" type="slidenum">
              <a:rPr lang="ru-RU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57199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53196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577470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6814C9-24F8-4E9B-87C1-33F42AF7241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22361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E92B4-B4D6-480B-BC6A-56D207529F6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72008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DBDB4F-059B-47A9-A58F-F5C483F1C7D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87748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8ED975-3181-4C0E-8EFF-39A297897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70770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Sub sectio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217509"/>
            <a:ext cx="7772400" cy="1470025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35922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1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2" indent="0">
              <a:buNone/>
              <a:defRPr sz="1000"/>
            </a:lvl3pPr>
            <a:lvl4pPr marL="1370447" indent="0">
              <a:buNone/>
              <a:defRPr sz="900"/>
            </a:lvl4pPr>
            <a:lvl5pPr marL="1827264" indent="0">
              <a:buNone/>
              <a:defRPr sz="900"/>
            </a:lvl5pPr>
            <a:lvl6pPr marL="2284078" indent="0">
              <a:buNone/>
              <a:defRPr sz="900"/>
            </a:lvl6pPr>
            <a:lvl7pPr marL="2740895" indent="0">
              <a:buNone/>
              <a:defRPr sz="900"/>
            </a:lvl7pPr>
            <a:lvl8pPr marL="3197711" indent="0">
              <a:buNone/>
              <a:defRPr sz="900"/>
            </a:lvl8pPr>
            <a:lvl9pPr marL="365452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796137-1EF4-400E-8D5F-B2551A0137D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62214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F26DA0-E7E9-44BA-A769-E88B7921F44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86088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300" y="177800"/>
            <a:ext cx="8503920" cy="1003300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41300" y="1351280"/>
            <a:ext cx="8503920" cy="539242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4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4pPr>
            <a:lvl5pPr marL="17145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5pPr>
            <a:lvl6pPr marL="21717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6pPr>
            <a:lvl7pPr marL="26289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7pPr>
            <a:lvl8pPr marL="30289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8pPr>
            <a:lvl9pPr marL="34861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5501879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4073" y="294810"/>
            <a:ext cx="7568190" cy="33855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75072" y="1177489"/>
            <a:ext cx="8413327" cy="46585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4096" y="692554"/>
            <a:ext cx="7588803" cy="234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600" i="0">
                <a:latin typeface="+mn-lt"/>
              </a:defRPr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74904" y="6058086"/>
            <a:ext cx="8445820" cy="123111"/>
          </a:xfrm>
        </p:spPr>
        <p:txBody>
          <a:bodyPr anchor="b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Insert your date / confidentiality text here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4x3 presentation ki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0BE4B5-647C-435C-9C8F-F3C557F8D2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36020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03225" y="5899150"/>
            <a:ext cx="38512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5289" y="1414465"/>
            <a:ext cx="8353425" cy="4897437"/>
          </a:xfrm>
        </p:spPr>
        <p:txBody>
          <a:bodyPr/>
          <a:lstStyle>
            <a:lvl1pPr>
              <a:spcBef>
                <a:spcPts val="2400"/>
              </a:spcBef>
              <a:defRPr sz="2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92804" y="5899150"/>
            <a:ext cx="3138861" cy="488950"/>
          </a:xfrm>
        </p:spPr>
        <p:txBody>
          <a:bodyPr/>
          <a:lstStyle>
            <a:lvl1pPr marL="0" indent="0">
              <a:buFontTx/>
              <a:buNone/>
              <a:defRPr sz="800"/>
            </a:lvl1pPr>
            <a:lvl2pPr marL="358775" indent="0">
              <a:buFontTx/>
              <a:buNone/>
              <a:defRPr sz="80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677275" y="6477000"/>
            <a:ext cx="2889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8FE44-7EC4-416C-9AEA-2FA97464BB71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7"/>
          </p:nvPr>
        </p:nvSpPr>
        <p:spPr>
          <a:xfrm>
            <a:off x="1709738" y="6477000"/>
            <a:ext cx="919162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January 2015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95288" y="6477000"/>
            <a:ext cx="1314450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Varicella vaccines position paper</a:t>
            </a:r>
          </a:p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Resource slide deck</a:t>
            </a:r>
          </a:p>
        </p:txBody>
      </p:sp>
    </p:spTree>
    <p:extLst>
      <p:ext uri="{BB962C8B-B14F-4D97-AF65-F5344CB8AC3E}">
        <p14:creationId xmlns:p14="http://schemas.microsoft.com/office/powerpoint/2010/main" val="353434033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>
                <a:solidFill>
                  <a:srgbClr val="20252C"/>
                </a:solidFill>
              </a:defRPr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C42EAE4D-B559-4E89-8CF2-BA20BADDEF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53804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90BD99-C3D7-4079-8743-50496526DA4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89509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4FBBC2-DF46-47C4-AFCC-F78091107F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65410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2164E1-FA49-4876-AE6B-BDBD0560C80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54722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244600"/>
            <a:ext cx="8255000" cy="264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9900" y="4000500"/>
            <a:ext cx="8242300" cy="256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51254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3956"/>
            <a:ext cx="8229600" cy="6413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38275"/>
            <a:ext cx="8229600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57200" y="3746500"/>
            <a:ext cx="8267700" cy="220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61BD0F2B-E190-4E6E-B728-36628CED19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038708"/>
      </p:ext>
    </p:extLst>
  </p:cSld>
  <p:clrMapOvr>
    <a:masterClrMapping/>
  </p:clrMapOvr>
  <p:transition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15" indent="0">
              <a:buNone/>
              <a:defRPr sz="2800"/>
            </a:lvl2pPr>
            <a:lvl3pPr marL="913632" indent="0">
              <a:buNone/>
              <a:defRPr sz="2400"/>
            </a:lvl3pPr>
            <a:lvl4pPr marL="1370447" indent="0">
              <a:buNone/>
              <a:defRPr sz="2000"/>
            </a:lvl4pPr>
            <a:lvl5pPr marL="1827264" indent="0">
              <a:buNone/>
              <a:defRPr sz="2000"/>
            </a:lvl5pPr>
            <a:lvl6pPr marL="2284078" indent="0">
              <a:buNone/>
              <a:defRPr sz="2000"/>
            </a:lvl6pPr>
            <a:lvl7pPr marL="2740895" indent="0">
              <a:buNone/>
              <a:defRPr sz="2000"/>
            </a:lvl7pPr>
            <a:lvl8pPr marL="3197711" indent="0">
              <a:buNone/>
              <a:defRPr sz="2000"/>
            </a:lvl8pPr>
            <a:lvl9pPr marL="3654526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2" indent="0">
              <a:buNone/>
              <a:defRPr sz="1000"/>
            </a:lvl3pPr>
            <a:lvl4pPr marL="1370447" indent="0">
              <a:buNone/>
              <a:defRPr sz="900"/>
            </a:lvl4pPr>
            <a:lvl5pPr marL="1827264" indent="0">
              <a:buNone/>
              <a:defRPr sz="900"/>
            </a:lvl5pPr>
            <a:lvl6pPr marL="2284078" indent="0">
              <a:buNone/>
              <a:defRPr sz="900"/>
            </a:lvl6pPr>
            <a:lvl7pPr marL="2740895" indent="0">
              <a:buNone/>
              <a:defRPr sz="900"/>
            </a:lvl7pPr>
            <a:lvl8pPr marL="3197711" indent="0">
              <a:buNone/>
              <a:defRPr sz="900"/>
            </a:lvl8pPr>
            <a:lvl9pPr marL="365452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5C5F5-424B-4B54-9F3C-576384278F6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31077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-section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FA2180-BCB0-4910-B971-9929576ED7A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90710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7D254A-64ED-4660-8460-F676BC1505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20492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315CD1-CC74-48B2-900A-4DBC737F2B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10822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811ABF-71F9-4EB9-9C05-7843BC8DDF9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75178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43AEA-1FBD-4767-8B09-EC4C25AF2C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58558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1507B-7C40-4606-B18F-82FF7D5CAE4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27031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28857-8860-4B63-9687-1D403B01A45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28158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217053-2AAC-4879-9277-E55CE48453B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1159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6E71F-EBE1-45B1-89A7-D4392F74AE5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65842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535341-AA51-402B-99CF-7187D367E21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856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CDEDA2-64C4-4C0D-838E-B6B2B704930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46950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D2BB4-ABBB-478B-9600-91CC872702B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87010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9DBEC3-9BEC-4451-BA36-735A734D223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17369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1B1F1B-2E68-485A-B3F3-0D07AC1399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36457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F165FC-1B14-4DE4-9757-D29B218EC65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6120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D664E3-9763-4003-BF96-C351E0222B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39864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6D1158-E418-41AE-A522-3C7B074EA10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44936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2B109C-0581-4919-B925-A91A2A420AC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35016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747EA0-7519-49BF-8CDB-91AAAE26CA0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20013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F95C0-C0E8-4179-9C19-87768962D32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41655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BEBD8B-21B7-4F93-9AAA-EEB576970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3375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2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F17BDB-BAC9-4D6F-81C0-9F40BFB77DF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26498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Заголовок и 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D88875-15D1-4691-917D-3D2736CF3D5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21769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Заголовок, 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BECAFF-1AF5-4983-8B10-FF3608216FC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20870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73273-43EC-4373-A2D7-DEBFD3E0E26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52147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F59502-5EBE-4B24-8880-0E5A394A098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79892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6E749C-EF3D-458D-9589-066BC4D5508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17781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EE2DA8-E6E5-43C3-99AF-5B729D261B3A}" type="slidenum">
              <a:rPr lang="ru-RU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66237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34799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786558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6814C9-24F8-4E9B-87C1-33F42AF7241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31905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E92B4-B4D6-480B-BC6A-56D207529F6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2755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2AE829-F297-428C-A89E-68F10DE72AF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01496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DBDB4F-059B-47A9-A58F-F5C483F1C7D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25703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8ED975-3181-4C0E-8EFF-39A297897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14427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Sub sectio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217509"/>
            <a:ext cx="7772400" cy="1470025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592094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F26DA0-E7E9-44BA-A769-E88B7921F44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0324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300" y="177800"/>
            <a:ext cx="8503920" cy="1003300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41300" y="1351280"/>
            <a:ext cx="8503920" cy="539242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4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4pPr>
            <a:lvl5pPr marL="17145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5pPr>
            <a:lvl6pPr marL="21717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6pPr>
            <a:lvl7pPr marL="26289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7pPr>
            <a:lvl8pPr marL="30289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8pPr>
            <a:lvl9pPr marL="34861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1398703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4073" y="294810"/>
            <a:ext cx="7568190" cy="33855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75072" y="1177489"/>
            <a:ext cx="8413327" cy="46585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4096" y="692554"/>
            <a:ext cx="7588803" cy="234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600" i="0">
                <a:latin typeface="+mn-lt"/>
              </a:defRPr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74904" y="6058086"/>
            <a:ext cx="8445820" cy="123111"/>
          </a:xfrm>
        </p:spPr>
        <p:txBody>
          <a:bodyPr anchor="b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Insert your date / confidentiality text here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4x3 presentation ki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0BE4B5-647C-435C-9C8F-F3C557F8D2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61081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03225" y="5899150"/>
            <a:ext cx="38512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5289" y="1414465"/>
            <a:ext cx="8353425" cy="4897437"/>
          </a:xfrm>
        </p:spPr>
        <p:txBody>
          <a:bodyPr/>
          <a:lstStyle>
            <a:lvl1pPr>
              <a:spcBef>
                <a:spcPts val="2400"/>
              </a:spcBef>
              <a:defRPr sz="2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92804" y="5899150"/>
            <a:ext cx="3138861" cy="488950"/>
          </a:xfrm>
        </p:spPr>
        <p:txBody>
          <a:bodyPr/>
          <a:lstStyle>
            <a:lvl1pPr marL="0" indent="0">
              <a:buFontTx/>
              <a:buNone/>
              <a:defRPr sz="800"/>
            </a:lvl1pPr>
            <a:lvl2pPr marL="358775" indent="0">
              <a:buFontTx/>
              <a:buNone/>
              <a:defRPr sz="80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677275" y="6477000"/>
            <a:ext cx="2889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8FE44-7EC4-416C-9AEA-2FA97464BB71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7"/>
          </p:nvPr>
        </p:nvSpPr>
        <p:spPr>
          <a:xfrm>
            <a:off x="1709738" y="6477000"/>
            <a:ext cx="919162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January 2015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95288" y="6477000"/>
            <a:ext cx="1314450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Varicella vaccines position paper</a:t>
            </a:r>
          </a:p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Resource slide deck</a:t>
            </a:r>
          </a:p>
        </p:txBody>
      </p:sp>
    </p:spTree>
    <p:extLst>
      <p:ext uri="{BB962C8B-B14F-4D97-AF65-F5344CB8AC3E}">
        <p14:creationId xmlns:p14="http://schemas.microsoft.com/office/powerpoint/2010/main" val="307452868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>
                <a:solidFill>
                  <a:srgbClr val="20252C"/>
                </a:solidFill>
              </a:defRPr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C42EAE4D-B559-4E89-8CF2-BA20BADDEF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76371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90BD99-C3D7-4079-8743-50496526DA4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94560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4FBBC2-DF46-47C4-AFCC-F78091107F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8843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40F7DA-3442-439E-9F04-30F57C2A0AE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94641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2164E1-FA49-4876-AE6B-BDBD0560C80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47400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244600"/>
            <a:ext cx="8255000" cy="264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9900" y="4000500"/>
            <a:ext cx="8242300" cy="256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03798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3956"/>
            <a:ext cx="8229600" cy="6413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38275"/>
            <a:ext cx="8229600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57200" y="3746500"/>
            <a:ext cx="8267700" cy="220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61BD0F2B-E190-4E6E-B728-36628CED19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087446"/>
      </p:ext>
    </p:extLst>
  </p:cSld>
  <p:clrMapOvr>
    <a:masterClrMapping/>
  </p:clrMapOvr>
  <p:transition>
    <p:fade thruBlk="1"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-section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FA2180-BCB0-4910-B971-9929576ED7A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86885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7D254A-64ED-4660-8460-F676BC1505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13418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315CD1-CC74-48B2-900A-4DBC737F2B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88199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811ABF-71F9-4EB9-9C05-7843BC8DDF9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8560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43AEA-1FBD-4767-8B09-EC4C25AF2C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50056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1507B-7C40-4606-B18F-82FF7D5CAE4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08209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28857-8860-4B63-9687-1D403B01A45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4335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CE3B3-74B8-428A-BE52-9BBDA2BC9E2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45343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217053-2AAC-4879-9277-E55CE48453B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36002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6E71F-EBE1-45B1-89A7-D4392F74AE5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48553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535341-AA51-402B-99CF-7187D367E21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63794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D2BB4-ABBB-478B-9600-91CC872702B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09618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9DBEC3-9BEC-4451-BA36-735A734D223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5557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1B1F1B-2E68-485A-B3F3-0D07AC1399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18117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F165FC-1B14-4DE4-9757-D29B218EC65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71909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D664E3-9763-4003-BF96-C351E0222B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52916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6D1158-E418-41AE-A522-3C7B074EA10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24806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2B109C-0581-4919-B925-A91A2A420AC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327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BA81D8-97B9-4B63-A253-1F9A2981FBD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70959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747EA0-7519-49BF-8CDB-91AAAE26CA0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76724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F95C0-C0E8-4179-9C19-87768962D32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79216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BEBD8B-21B7-4F93-9AAA-EEB576970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84171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Заголовок и 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D88875-15D1-4691-917D-3D2736CF3D5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93140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Заголовок, 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BECAFF-1AF5-4983-8B10-FF3608216FC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37987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73273-43EC-4373-A2D7-DEBFD3E0E26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0435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F59502-5EBE-4B24-8880-0E5A394A098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02754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6E749C-EF3D-458D-9589-066BC4D5508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7405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EE2DA8-E6E5-43C3-99AF-5B729D261B3A}" type="slidenum">
              <a:rPr lang="ru-RU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99740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7168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3EBE5D-ACF4-4FE3-B2AE-F2C06A37914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82250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90625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6814C9-24F8-4E9B-87C1-33F42AF7241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03738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E92B4-B4D6-480B-BC6A-56D207529F6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43252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DBDB4F-059B-47A9-A58F-F5C483F1C7D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05607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8ED975-3181-4C0E-8EFF-39A297897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52794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Sub sectio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217509"/>
            <a:ext cx="7772400" cy="1470025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592604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F26DA0-E7E9-44BA-A769-E88B7921F44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7405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300" y="177800"/>
            <a:ext cx="8503920" cy="1003300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41300" y="1351280"/>
            <a:ext cx="8503920" cy="539242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4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4pPr>
            <a:lvl5pPr marL="17145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5pPr>
            <a:lvl6pPr marL="21717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6pPr>
            <a:lvl7pPr marL="26289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7pPr>
            <a:lvl8pPr marL="30289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8pPr>
            <a:lvl9pPr marL="34861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8744567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4073" y="294810"/>
            <a:ext cx="7568190" cy="33855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75072" y="1177489"/>
            <a:ext cx="8413327" cy="46585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4096" y="692554"/>
            <a:ext cx="7588803" cy="234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600" i="0">
                <a:latin typeface="+mn-lt"/>
              </a:defRPr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74904" y="6058086"/>
            <a:ext cx="8445820" cy="123111"/>
          </a:xfrm>
        </p:spPr>
        <p:txBody>
          <a:bodyPr anchor="b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Insert your date / confidentiality text here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4x3 presentation ki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0BE4B5-647C-435C-9C8F-F3C557F8D2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67103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03225" y="5899150"/>
            <a:ext cx="38512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5289" y="1414465"/>
            <a:ext cx="8353425" cy="4897437"/>
          </a:xfrm>
        </p:spPr>
        <p:txBody>
          <a:bodyPr/>
          <a:lstStyle>
            <a:lvl1pPr>
              <a:spcBef>
                <a:spcPts val="2400"/>
              </a:spcBef>
              <a:defRPr sz="2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92804" y="5899150"/>
            <a:ext cx="3138861" cy="488950"/>
          </a:xfrm>
        </p:spPr>
        <p:txBody>
          <a:bodyPr/>
          <a:lstStyle>
            <a:lvl1pPr marL="0" indent="0">
              <a:buFontTx/>
              <a:buNone/>
              <a:defRPr sz="800"/>
            </a:lvl1pPr>
            <a:lvl2pPr marL="358775" indent="0">
              <a:buFontTx/>
              <a:buNone/>
              <a:defRPr sz="80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677275" y="6477000"/>
            <a:ext cx="2889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8FE44-7EC4-416C-9AEA-2FA97464BB71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7"/>
          </p:nvPr>
        </p:nvSpPr>
        <p:spPr>
          <a:xfrm>
            <a:off x="1709738" y="6477000"/>
            <a:ext cx="919162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January 2015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95288" y="6477000"/>
            <a:ext cx="1314450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Varicella vaccines position paper</a:t>
            </a:r>
          </a:p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Resource slide deck</a:t>
            </a:r>
          </a:p>
        </p:txBody>
      </p:sp>
    </p:spTree>
    <p:extLst>
      <p:ext uri="{BB962C8B-B14F-4D97-AF65-F5344CB8AC3E}">
        <p14:creationId xmlns:p14="http://schemas.microsoft.com/office/powerpoint/2010/main" val="21842464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1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57200" y="3938593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D56F5F-D011-46AD-B567-FF45C1A036D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81219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>
                <a:solidFill>
                  <a:srgbClr val="20252C"/>
                </a:solidFill>
              </a:defRPr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C42EAE4D-B559-4E89-8CF2-BA20BADDEF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4887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90BD99-C3D7-4079-8743-50496526DA4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63490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4FBBC2-DF46-47C4-AFCC-F78091107F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90086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2164E1-FA49-4876-AE6B-BDBD0560C80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86806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244600"/>
            <a:ext cx="8255000" cy="264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9900" y="4000500"/>
            <a:ext cx="8242300" cy="256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82030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3956"/>
            <a:ext cx="8229600" cy="6413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38275"/>
            <a:ext cx="8229600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57200" y="3746500"/>
            <a:ext cx="8267700" cy="220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61BD0F2B-E190-4E6E-B728-36628CED19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306554"/>
      </p:ext>
    </p:extLst>
  </p:cSld>
  <p:clrMapOvr>
    <a:masterClrMapping/>
  </p:clrMapOvr>
  <p:transition>
    <p:fade thruBlk="1"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-section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FA2180-BCB0-4910-B971-9929576ED7A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07694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7D254A-64ED-4660-8460-F676BC1505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03330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315CD1-CC74-48B2-900A-4DBC737F2B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5258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811ABF-71F9-4EB9-9C05-7843BC8DDF9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8235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3B156-265A-4938-82EC-8CCA36B1DA0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92300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43AEA-1FBD-4767-8B09-EC4C25AF2C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00117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1507B-7C40-4606-B18F-82FF7D5CAE4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91577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28857-8860-4B63-9687-1D403B01A45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25575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217053-2AAC-4879-9277-E55CE48453B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67959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6E71F-EBE1-45B1-89A7-D4392F74AE5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09002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535341-AA51-402B-99CF-7187D367E21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07902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D2BB4-ABBB-478B-9600-91CC872702B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80115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9DBEC3-9BEC-4451-BA36-735A734D223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34669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1B1F1B-2E68-485A-B3F3-0D07AC1399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91300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F165FC-1B14-4DE4-9757-D29B218EC65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9576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1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1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71B86-CE59-4D4C-A853-483FACCFD18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602721"/>
      </p:ext>
    </p:extLst>
  </p:cSld>
  <p:clrMapOvr>
    <a:masterClrMapping/>
  </p:clrMapOvr>
  <p:transition spd="slow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D664E3-9763-4003-BF96-C351E0222B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35420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6D1158-E418-41AE-A522-3C7B074EA10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32291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2B109C-0581-4919-B925-A91A2A420AC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47598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747EA0-7519-49BF-8CDB-91AAAE26CA0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6255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F95C0-C0E8-4179-9C19-87768962D32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45798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BEBD8B-21B7-4F93-9AAA-EEB576970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25647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Заголовок и 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D88875-15D1-4691-917D-3D2736CF3D5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05354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Заголовок, 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BECAFF-1AF5-4983-8B10-FF3608216FC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1271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73273-43EC-4373-A2D7-DEBFD3E0E26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66439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F59502-5EBE-4B24-8880-0E5A394A098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921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981204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438069-7070-47BB-B154-F1816996090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68541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6E749C-EF3D-458D-9589-066BC4D5508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36075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EE2DA8-E6E5-43C3-99AF-5B729D261B3A}" type="slidenum">
              <a:rPr lang="ru-RU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78599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00349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491431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6814C9-24F8-4E9B-87C1-33F42AF7241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84944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E92B4-B4D6-480B-BC6A-56D207529F6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44807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DBDB4F-059B-47A9-A58F-F5C483F1C7D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66548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8ED975-3181-4C0E-8EFF-39A297897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16337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Sub sectio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217509"/>
            <a:ext cx="7772400" cy="1470025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9120786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F26DA0-E7E9-44BA-A769-E88B7921F44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225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3460" y="82601"/>
            <a:ext cx="3790555" cy="920778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978101" y="1695324"/>
            <a:ext cx="3785809" cy="55053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5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101" y="4001960"/>
            <a:ext cx="3785809" cy="184670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3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978101" y="2631223"/>
            <a:ext cx="3785809" cy="1218112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1044854" y="1694356"/>
            <a:ext cx="2834105" cy="290164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ru-RU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4978101" y="2209354"/>
            <a:ext cx="3785809" cy="391639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1042132" y="4752001"/>
            <a:ext cx="2833523" cy="25347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 b="1"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1042135" y="5020898"/>
            <a:ext cx="2832821" cy="82777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pPr>
              <a:defRPr/>
            </a:pPr>
            <a:r>
              <a:rPr lang="ru-RU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281115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300" y="177800"/>
            <a:ext cx="8503920" cy="1003300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41300" y="1351280"/>
            <a:ext cx="8503920" cy="539242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4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4pPr>
            <a:lvl5pPr marL="17145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5pPr>
            <a:lvl6pPr marL="21717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6pPr>
            <a:lvl7pPr marL="26289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7pPr>
            <a:lvl8pPr marL="30289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8pPr>
            <a:lvl9pPr marL="34861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4961796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4073" y="294810"/>
            <a:ext cx="7568190" cy="33855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75072" y="1177489"/>
            <a:ext cx="8413327" cy="46585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4096" y="692554"/>
            <a:ext cx="7588803" cy="234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600" i="0">
                <a:latin typeface="+mn-lt"/>
              </a:defRPr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74904" y="6058086"/>
            <a:ext cx="8445820" cy="123111"/>
          </a:xfrm>
        </p:spPr>
        <p:txBody>
          <a:bodyPr anchor="b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Insert your date / confidentiality text here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4x3 presentation ki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0BE4B5-647C-435C-9C8F-F3C557F8D2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76389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03225" y="5899150"/>
            <a:ext cx="38512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5289" y="1414465"/>
            <a:ext cx="8353425" cy="4897437"/>
          </a:xfrm>
        </p:spPr>
        <p:txBody>
          <a:bodyPr/>
          <a:lstStyle>
            <a:lvl1pPr>
              <a:spcBef>
                <a:spcPts val="2400"/>
              </a:spcBef>
              <a:defRPr sz="2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92804" y="5899150"/>
            <a:ext cx="3138861" cy="488950"/>
          </a:xfrm>
        </p:spPr>
        <p:txBody>
          <a:bodyPr/>
          <a:lstStyle>
            <a:lvl1pPr marL="0" indent="0">
              <a:buFontTx/>
              <a:buNone/>
              <a:defRPr sz="800"/>
            </a:lvl1pPr>
            <a:lvl2pPr marL="358775" indent="0">
              <a:buFontTx/>
              <a:buNone/>
              <a:defRPr sz="80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677275" y="6477000"/>
            <a:ext cx="2889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8FE44-7EC4-416C-9AEA-2FA97464BB71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7"/>
          </p:nvPr>
        </p:nvSpPr>
        <p:spPr>
          <a:xfrm>
            <a:off x="1709738" y="6477000"/>
            <a:ext cx="919162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January 2015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95288" y="6477000"/>
            <a:ext cx="1314450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Varicella vaccines position paper</a:t>
            </a:r>
          </a:p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Resource slide deck</a:t>
            </a:r>
          </a:p>
        </p:txBody>
      </p:sp>
    </p:spTree>
    <p:extLst>
      <p:ext uri="{BB962C8B-B14F-4D97-AF65-F5344CB8AC3E}">
        <p14:creationId xmlns:p14="http://schemas.microsoft.com/office/powerpoint/2010/main" val="217660862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>
                <a:solidFill>
                  <a:srgbClr val="20252C"/>
                </a:solidFill>
              </a:defRPr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C42EAE4D-B559-4E89-8CF2-BA20BADDEF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70509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90BD99-C3D7-4079-8743-50496526DA4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43180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4FBBC2-DF46-47C4-AFCC-F78091107F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96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2164E1-FA49-4876-AE6B-BDBD0560C80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03128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244600"/>
            <a:ext cx="8255000" cy="264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9900" y="4000500"/>
            <a:ext cx="8242300" cy="256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440232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3956"/>
            <a:ext cx="8229600" cy="6413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38275"/>
            <a:ext cx="8229600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57200" y="3746500"/>
            <a:ext cx="8267700" cy="220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61BD0F2B-E190-4E6E-B728-36628CED19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639734"/>
      </p:ext>
    </p:extLst>
  </p:cSld>
  <p:clrMapOvr>
    <a:masterClrMapping/>
  </p:clrMapOvr>
  <p:transition>
    <p:fade thruBlk="1"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-section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FA2180-BCB0-4910-B971-9929576ED7A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4130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71021" indent="-190339">
              <a:buClr>
                <a:srgbClr val="575C5F"/>
              </a:buClr>
              <a:buFont typeface="Arial" pitchFamily="34" charset="0"/>
              <a:buChar char="•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425944" y="854889"/>
            <a:ext cx="8691563" cy="1223962"/>
          </a:xfrm>
          <a:prstGeom prst="rect">
            <a:avLst/>
          </a:prstGeom>
        </p:spPr>
        <p:txBody>
          <a:bodyPr/>
          <a:lstStyle>
            <a:lvl1pPr>
              <a:defRPr sz="2200" b="1">
                <a:solidFill>
                  <a:srgbClr val="0093BD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6" name="Espace réservé du contenu 8"/>
          <p:cNvSpPr>
            <a:spLocks noGrp="1"/>
          </p:cNvSpPr>
          <p:nvPr>
            <p:ph sz="quarter" idx="11"/>
          </p:nvPr>
        </p:nvSpPr>
        <p:spPr>
          <a:xfrm>
            <a:off x="443880" y="233650"/>
            <a:ext cx="3048000" cy="646113"/>
          </a:xfrm>
        </p:spPr>
        <p:txBody>
          <a:bodyPr/>
          <a:lstStyle>
            <a:lvl1pPr marL="0" indent="0">
              <a:buNone/>
              <a:defRPr sz="1800">
                <a:solidFill>
                  <a:srgbClr val="81888D"/>
                </a:solidFill>
              </a:defRPr>
            </a:lvl1pPr>
            <a:lvl4pPr marL="1243552" indent="0">
              <a:buNone/>
              <a:defRPr/>
            </a:lvl4pPr>
            <a:lvl5pPr marL="1713060" indent="0" algn="l">
              <a:buNone/>
              <a:defRPr sz="1800">
                <a:solidFill>
                  <a:srgbClr val="81888D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93556865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7D254A-64ED-4660-8460-F676BC1505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30440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315CD1-CC74-48B2-900A-4DBC737F2B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59043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811ABF-71F9-4EB9-9C05-7843BC8DDF9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55752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43AEA-1FBD-4767-8B09-EC4C25AF2C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71180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1507B-7C40-4606-B18F-82FF7D5CAE4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194220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28857-8860-4B63-9687-1D403B01A45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1608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217053-2AAC-4879-9277-E55CE48453B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552120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6E71F-EBE1-45B1-89A7-D4392F74AE5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15845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535341-AA51-402B-99CF-7187D367E21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29325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D2BB4-ABBB-478B-9600-91CC872702B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6763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/>
        </p:spPr>
        <p:txBody>
          <a:bodyPr lIns="91364" tIns="45682" rIns="91364" bIns="45682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4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/>
        </p:spPr>
        <p:txBody>
          <a:bodyPr lIns="91364" tIns="45682" rIns="91364" bIns="45682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ru-RU" altLang="ru-RU" sz="32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982795"/>
      </p:ext>
    </p:extLst>
  </p:cSld>
  <p:clrMapOvr>
    <a:masterClrMapping/>
  </p:clrMapOvr>
  <p:transition spd="slow"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9DBEC3-9BEC-4451-BA36-735A734D223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25148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1B1F1B-2E68-485A-B3F3-0D07AC1399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35902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F165FC-1B14-4DE4-9757-D29B218EC65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87319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D664E3-9763-4003-BF96-C351E0222B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92920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6D1158-E418-41AE-A522-3C7B074EA10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71883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2B109C-0581-4919-B925-A91A2A420AC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49321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747EA0-7519-49BF-8CDB-91AAAE26CA0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786409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F95C0-C0E8-4179-9C19-87768962D32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90896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BEBD8B-21B7-4F93-9AAA-EEB576970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29395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Заголовок и 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D88875-15D1-4691-917D-3D2736CF3D5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1040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19201"/>
            <a:ext cx="8229600" cy="23780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749680"/>
            <a:ext cx="8229600" cy="23796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3C1EF-4CE4-409A-A9A5-9E4DC9CC49AA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10/15/202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749A2-68E7-40D8-B62C-8C321085DC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07773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Заголовок, 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BECAFF-1AF5-4983-8B10-FF3608216FC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77350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73273-43EC-4373-A2D7-DEBFD3E0E26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50671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F59502-5EBE-4B24-8880-0E5A394A098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19838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6E749C-EF3D-458D-9589-066BC4D5508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498723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EE2DA8-E6E5-43C3-99AF-5B729D261B3A}" type="slidenum">
              <a:rPr lang="ru-RU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862850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45342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5094320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6814C9-24F8-4E9B-87C1-33F42AF7241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45744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E92B4-B4D6-480B-BC6A-56D207529F6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770104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DBDB4F-059B-47A9-A58F-F5C483F1C7D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1578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C19E83-75C7-4695-BE46-33385F5AD693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597715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8ED975-3181-4C0E-8EFF-39A297897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01137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Sub sectio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217509"/>
            <a:ext cx="7772400" cy="1470025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024682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F26DA0-E7E9-44BA-A769-E88B7921F44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46856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300" y="177800"/>
            <a:ext cx="8503920" cy="1003300"/>
          </a:xfrm>
        </p:spPr>
        <p:txBody>
          <a:bodyPr>
            <a:normAutofit/>
          </a:bodyPr>
          <a:lstStyle>
            <a:lvl1pPr>
              <a:defRPr sz="26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41300" y="1351280"/>
            <a:ext cx="8503920" cy="539242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4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4pPr>
            <a:lvl5pPr marL="17145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5pPr>
            <a:lvl6pPr marL="21717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/>
            </a:lvl6pPr>
            <a:lvl7pPr marL="262890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7pPr>
            <a:lvl8pPr marL="30289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8pPr>
            <a:lvl9pPr marL="3486150" indent="-171450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4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68038345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4073" y="294810"/>
            <a:ext cx="7568190" cy="33855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75072" y="1177489"/>
            <a:ext cx="8413327" cy="46585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4096" y="692554"/>
            <a:ext cx="7588803" cy="23495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600" i="0">
                <a:latin typeface="+mn-lt"/>
              </a:defRPr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74904" y="6058086"/>
            <a:ext cx="8445820" cy="123111"/>
          </a:xfrm>
        </p:spPr>
        <p:txBody>
          <a:bodyPr anchor="b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Insert your date / confidentiality text here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4x3 presentation ki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0BE4B5-647C-435C-9C8F-F3C557F8D2A6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31229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03225" y="5899150"/>
            <a:ext cx="38512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5289" y="1414465"/>
            <a:ext cx="8353425" cy="4897437"/>
          </a:xfrm>
        </p:spPr>
        <p:txBody>
          <a:bodyPr/>
          <a:lstStyle>
            <a:lvl1pPr>
              <a:spcBef>
                <a:spcPts val="2400"/>
              </a:spcBef>
              <a:defRPr sz="2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392804" y="5899150"/>
            <a:ext cx="3138861" cy="488950"/>
          </a:xfrm>
        </p:spPr>
        <p:txBody>
          <a:bodyPr/>
          <a:lstStyle>
            <a:lvl1pPr marL="0" indent="0">
              <a:buFontTx/>
              <a:buNone/>
              <a:defRPr sz="800"/>
            </a:lvl1pPr>
            <a:lvl2pPr marL="358775" indent="0">
              <a:buFontTx/>
              <a:buNone/>
              <a:defRPr sz="80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677275" y="6477000"/>
            <a:ext cx="2889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08FE44-7EC4-416C-9AEA-2FA97464BB71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7"/>
          </p:nvPr>
        </p:nvSpPr>
        <p:spPr>
          <a:xfrm>
            <a:off x="1709738" y="6477000"/>
            <a:ext cx="919162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January 2015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95288" y="6477000"/>
            <a:ext cx="1314450" cy="365125"/>
          </a:xfrm>
        </p:spPr>
        <p:txBody>
          <a:bodyPr lIns="0" tIns="0" rIns="0" bIns="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Varicella vaccines position paper</a:t>
            </a:r>
          </a:p>
          <a:p>
            <a:pPr>
              <a:defRPr/>
            </a:pPr>
            <a:r>
              <a:rPr lang="en-GB">
                <a:solidFill>
                  <a:srgbClr val="000000"/>
                </a:solidFill>
              </a:rPr>
              <a:t>Resource slide deck</a:t>
            </a:r>
          </a:p>
        </p:txBody>
      </p:sp>
    </p:spTree>
    <p:extLst>
      <p:ext uri="{BB962C8B-B14F-4D97-AF65-F5344CB8AC3E}">
        <p14:creationId xmlns:p14="http://schemas.microsoft.com/office/powerpoint/2010/main" val="4054830533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>
                <a:solidFill>
                  <a:srgbClr val="20252C"/>
                </a:solidFill>
              </a:defRPr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C42EAE4D-B559-4E89-8CF2-BA20BADDEF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193833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90BD99-C3D7-4079-8743-50496526DA4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88879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4FBBC2-DF46-47C4-AFCC-F78091107FA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054419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2164E1-FA49-4876-AE6B-BDBD0560C80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373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2406808"/>
      </p:ext>
    </p:extLst>
  </p:cSld>
  <p:clrMapOvr>
    <a:masterClrMapping/>
  </p:clrMapOvr>
  <p:transition spd="med"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244600"/>
            <a:ext cx="8255000" cy="2641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69900" y="4000500"/>
            <a:ext cx="8242300" cy="256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834017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3956"/>
            <a:ext cx="8229600" cy="6413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38275"/>
            <a:ext cx="8229600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57200" y="3746500"/>
            <a:ext cx="8267700" cy="2209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61BD0F2B-E190-4E6E-B728-36628CED19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321768"/>
      </p:ext>
    </p:extLst>
  </p:cSld>
  <p:clrMapOvr>
    <a:masterClrMapping/>
  </p:clrMapOvr>
  <p:transition>
    <p:fade thruBlk="1"/>
  </p:transition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-section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FA2180-BCB0-4910-B971-9929576ED7A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48751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7D254A-64ED-4660-8460-F676BC1505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862423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3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86725" y="6477000"/>
            <a:ext cx="482600" cy="2349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315CD1-CC74-48B2-900A-4DBC737F2B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59780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6 Imagen" descr="Dibujo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 cap="none" spc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s-ES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778865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cap="none" spc="0">
                <a:ln w="18415" cmpd="sng">
                  <a:solidFill>
                    <a:srgbClr val="0066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>
                <a:ln>
                  <a:noFill/>
                </a:ln>
                <a:solidFill>
                  <a:srgbClr val="0000CC"/>
                </a:solidFill>
              </a:defRPr>
            </a:lvl1pPr>
            <a:lvl2pPr>
              <a:defRPr>
                <a:ln>
                  <a:noFill/>
                </a:ln>
                <a:solidFill>
                  <a:srgbClr val="0000CC"/>
                </a:solidFill>
              </a:defRPr>
            </a:lvl2pPr>
            <a:lvl3pPr>
              <a:defRPr>
                <a:ln>
                  <a:noFill/>
                </a:ln>
                <a:solidFill>
                  <a:srgbClr val="0000CC"/>
                </a:solidFill>
              </a:defRPr>
            </a:lvl3pPr>
            <a:lvl4pPr>
              <a:defRPr>
                <a:ln>
                  <a:noFill/>
                </a:ln>
                <a:solidFill>
                  <a:srgbClr val="0000CC"/>
                </a:solidFill>
              </a:defRPr>
            </a:lvl4pPr>
            <a:lvl5pPr>
              <a:defRPr>
                <a:ln>
                  <a:noFill/>
                </a:ln>
                <a:solidFill>
                  <a:srgbClr val="0000C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80331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479138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937182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5018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5"/>
          <p:cNvSpPr txBox="1">
            <a:spLocks noChangeArrowheads="1"/>
          </p:cNvSpPr>
          <p:nvPr userDrawn="1"/>
        </p:nvSpPr>
        <p:spPr bwMode="auto">
          <a:xfrm>
            <a:off x="34925" y="-26988"/>
            <a:ext cx="4249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7030A0"/>
                </a:solidFill>
              </a:rPr>
              <a:t>PUL 508-02-12</a:t>
            </a:r>
            <a:endParaRPr lang="en-GB" sz="1000" smtClean="0">
              <a:solidFill>
                <a:srgbClr val="7030A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864096"/>
          </a:xfrm>
        </p:spPr>
        <p:txBody>
          <a:bodyPr anchor="b"/>
          <a:lstStyle>
            <a:lvl1pPr>
              <a:defRPr sz="3200" b="0">
                <a:solidFill>
                  <a:schemeClr val="tx1"/>
                </a:solidFill>
                <a:effectLst/>
                <a:latin typeface="Corbe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468318" y="1412776"/>
            <a:ext cx="8207375" cy="4753074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latin typeface="+mn-lt"/>
              </a:defRPr>
            </a:lvl1pPr>
            <a:lvl2pPr marL="456815" indent="0">
              <a:buClr>
                <a:schemeClr val="bg2"/>
              </a:buClr>
              <a:buFont typeface="Arial" pitchFamily="34" charset="0"/>
              <a:buNone/>
              <a:defRPr sz="2200">
                <a:solidFill>
                  <a:schemeClr val="bg2"/>
                </a:solidFill>
                <a:latin typeface="+mn-lt"/>
              </a:defRPr>
            </a:lvl2pPr>
            <a:lvl3pPr marL="913632" indent="0">
              <a:buFont typeface="Arial" pitchFamily="34" charset="0"/>
              <a:buNone/>
              <a:defRPr sz="2000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0"/>
          </p:nvPr>
        </p:nvSpPr>
        <p:spPr>
          <a:xfrm>
            <a:off x="477838" y="5868989"/>
            <a:ext cx="8229600" cy="85883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 marL="456815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8965503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029333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37051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691980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09807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76419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254989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CF3432-3FD4-4A69-ADC3-B9782A10506E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767396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783242"/>
      </p:ext>
    </p:extLst>
  </p:cSld>
  <p:clrMapOvr>
    <a:masterClrMapping/>
  </p:clrMapOvr>
  <p:transition spd="slow"/>
  <p:hf sldNum="0" hdr="0" ftr="0" dt="0"/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1"/>
          <p:cNvSpPr txBox="1">
            <a:spLocks noChangeArrowheads="1"/>
          </p:cNvSpPr>
          <p:nvPr userDrawn="1"/>
        </p:nvSpPr>
        <p:spPr bwMode="auto">
          <a:xfrm>
            <a:off x="3000375" y="6597650"/>
            <a:ext cx="25923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altLang="ru-RU" sz="1000">
                <a:solidFill>
                  <a:prstClr val="white"/>
                </a:solidFill>
                <a:cs typeface="Arial" panose="020B0604020202020204" pitchFamily="34" charset="0"/>
              </a:rPr>
              <a:t>PPE/COE/0109/0016/04 – </a:t>
            </a:r>
            <a:r>
              <a:rPr lang="ru-RU" altLang="ru-RU" sz="1000">
                <a:solidFill>
                  <a:prstClr val="white"/>
                </a:solidFill>
                <a:cs typeface="Arial" panose="020B0604020202020204" pitchFamily="34" charset="0"/>
              </a:rPr>
              <a:t>Ноябрь</a:t>
            </a:r>
            <a:r>
              <a:rPr lang="en-GB" altLang="ru-RU" sz="1000">
                <a:solidFill>
                  <a:prstClr val="white"/>
                </a:solidFill>
                <a:cs typeface="Arial" panose="020B0604020202020204" pitchFamily="34" charset="0"/>
              </a:rPr>
              <a:t> 200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80650"/>
            <a:ext cx="8715436" cy="766755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282" y="1142984"/>
            <a:ext cx="8715436" cy="485778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7081838" y="6492875"/>
            <a:ext cx="2133600" cy="365125"/>
          </a:xfrm>
        </p:spPr>
        <p:txBody>
          <a:bodyPr lIns="91440" tIns="45720" rIns="91440" bIns="45720"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A9D4F6CB-8402-4D78-BB3C-33CE19FC505E}" type="slidenum">
              <a:rPr lang="en-GB" altLang="ru-RU">
                <a:solidFill>
                  <a:prstClr val="white"/>
                </a:solidFill>
              </a:rPr>
              <a:pPr/>
              <a:t>‹#›</a:t>
            </a:fld>
            <a:endParaRPr lang="en-GB" alt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00015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3879379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андартное содержим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11"/>
          </p:nvPr>
        </p:nvSpPr>
        <p:spPr>
          <a:xfrm>
            <a:off x="539750" y="2097088"/>
            <a:ext cx="8064500" cy="3924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B65047-CFBD-4885-BFE4-595CBDA266BC}" type="datetime1">
              <a:rPr lang="ru-RU">
                <a:solidFill>
                  <a:srgbClr val="000000"/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8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C68DB7A-8A31-4C92-8F52-2F703A83928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1179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ru-RU" sz="36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9E7DB-9D35-43A4-BE3D-2EB1CFBC4894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76A92-EEC9-41F0-A536-3519A3AB0908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49882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андартное содержим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11"/>
          </p:nvPr>
        </p:nvSpPr>
        <p:spPr>
          <a:xfrm>
            <a:off x="539750" y="2097088"/>
            <a:ext cx="8064500" cy="3924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6B3FC-8E85-40B6-BB2C-E73045F2493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8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1">
                <a:latin typeface="Arial" pitchFamily="34" charset="0"/>
              </a:defRPr>
            </a:lvl1pPr>
          </a:lstStyle>
          <a:p>
            <a:fld id="{6A6A4948-8314-45FC-AEB5-B4A439D06A89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39792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91913333"/>
      </p:ext>
    </p:extLst>
  </p:cSld>
  <p:clrMapOvr>
    <a:masterClrMapping/>
  </p:clrMapOvr>
  <p:transition>
    <p:fade/>
  </p:transition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2159D4-7CC9-473B-8FA7-13B9FC3EDAA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75244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395999"/>
            <a:ext cx="9144000" cy="6462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bk object 18"/>
          <p:cNvSpPr/>
          <p:nvPr/>
        </p:nvSpPr>
        <p:spPr>
          <a:xfrm>
            <a:off x="0" y="0"/>
            <a:ext cx="8290778" cy="12330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bk object 19"/>
          <p:cNvSpPr/>
          <p:nvPr/>
        </p:nvSpPr>
        <p:spPr>
          <a:xfrm>
            <a:off x="7858797" y="625195"/>
            <a:ext cx="828001" cy="8280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bk object 20"/>
          <p:cNvSpPr/>
          <p:nvPr/>
        </p:nvSpPr>
        <p:spPr>
          <a:xfrm>
            <a:off x="7910144" y="676554"/>
            <a:ext cx="725309" cy="7252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bk object 21"/>
          <p:cNvSpPr/>
          <p:nvPr/>
        </p:nvSpPr>
        <p:spPr>
          <a:xfrm>
            <a:off x="7910152" y="676553"/>
            <a:ext cx="725805" cy="725805"/>
          </a:xfrm>
          <a:custGeom>
            <a:avLst/>
            <a:gdLst/>
            <a:ahLst/>
            <a:cxnLst/>
            <a:rect l="l" t="t" r="r" b="b"/>
            <a:pathLst>
              <a:path w="725804" h="725805">
                <a:moveTo>
                  <a:pt x="362648" y="725297"/>
                </a:moveTo>
                <a:lnTo>
                  <a:pt x="421473" y="720550"/>
                </a:lnTo>
                <a:lnTo>
                  <a:pt x="477275" y="706808"/>
                </a:lnTo>
                <a:lnTo>
                  <a:pt x="529309" y="684817"/>
                </a:lnTo>
                <a:lnTo>
                  <a:pt x="576826" y="655325"/>
                </a:lnTo>
                <a:lnTo>
                  <a:pt x="619082" y="619077"/>
                </a:lnTo>
                <a:lnTo>
                  <a:pt x="655328" y="576821"/>
                </a:lnTo>
                <a:lnTo>
                  <a:pt x="684820" y="529303"/>
                </a:lnTo>
                <a:lnTo>
                  <a:pt x="706809" y="477271"/>
                </a:lnTo>
                <a:lnTo>
                  <a:pt x="720550" y="421470"/>
                </a:lnTo>
                <a:lnTo>
                  <a:pt x="725296" y="362648"/>
                </a:lnTo>
                <a:lnTo>
                  <a:pt x="724094" y="332904"/>
                </a:lnTo>
                <a:lnTo>
                  <a:pt x="714757" y="275497"/>
                </a:lnTo>
                <a:lnTo>
                  <a:pt x="696799" y="221486"/>
                </a:lnTo>
                <a:lnTo>
                  <a:pt x="670965" y="171617"/>
                </a:lnTo>
                <a:lnTo>
                  <a:pt x="638003" y="126638"/>
                </a:lnTo>
                <a:lnTo>
                  <a:pt x="598658" y="87293"/>
                </a:lnTo>
                <a:lnTo>
                  <a:pt x="553679" y="54331"/>
                </a:lnTo>
                <a:lnTo>
                  <a:pt x="503810" y="28497"/>
                </a:lnTo>
                <a:lnTo>
                  <a:pt x="449799" y="10539"/>
                </a:lnTo>
                <a:lnTo>
                  <a:pt x="392392" y="1202"/>
                </a:lnTo>
                <a:lnTo>
                  <a:pt x="362648" y="0"/>
                </a:lnTo>
                <a:lnTo>
                  <a:pt x="332904" y="1202"/>
                </a:lnTo>
                <a:lnTo>
                  <a:pt x="275497" y="10539"/>
                </a:lnTo>
                <a:lnTo>
                  <a:pt x="221486" y="28497"/>
                </a:lnTo>
                <a:lnTo>
                  <a:pt x="171617" y="54331"/>
                </a:lnTo>
                <a:lnTo>
                  <a:pt x="126638" y="87293"/>
                </a:lnTo>
                <a:lnTo>
                  <a:pt x="87293" y="126638"/>
                </a:lnTo>
                <a:lnTo>
                  <a:pt x="54331" y="171617"/>
                </a:lnTo>
                <a:lnTo>
                  <a:pt x="28497" y="221486"/>
                </a:lnTo>
                <a:lnTo>
                  <a:pt x="10539" y="275497"/>
                </a:lnTo>
                <a:lnTo>
                  <a:pt x="1202" y="332904"/>
                </a:lnTo>
                <a:lnTo>
                  <a:pt x="0" y="362648"/>
                </a:lnTo>
                <a:lnTo>
                  <a:pt x="1202" y="392390"/>
                </a:lnTo>
                <a:lnTo>
                  <a:pt x="10539" y="449795"/>
                </a:lnTo>
                <a:lnTo>
                  <a:pt x="28497" y="503805"/>
                </a:lnTo>
                <a:lnTo>
                  <a:pt x="54331" y="553673"/>
                </a:lnTo>
                <a:lnTo>
                  <a:pt x="87293" y="598653"/>
                </a:lnTo>
                <a:lnTo>
                  <a:pt x="126638" y="637998"/>
                </a:lnTo>
                <a:lnTo>
                  <a:pt x="171617" y="670962"/>
                </a:lnTo>
                <a:lnTo>
                  <a:pt x="221486" y="696797"/>
                </a:lnTo>
                <a:lnTo>
                  <a:pt x="275497" y="714757"/>
                </a:lnTo>
                <a:lnTo>
                  <a:pt x="332904" y="724094"/>
                </a:lnTo>
                <a:lnTo>
                  <a:pt x="362648" y="72529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bk object 22"/>
          <p:cNvSpPr/>
          <p:nvPr/>
        </p:nvSpPr>
        <p:spPr>
          <a:xfrm>
            <a:off x="8094899" y="860149"/>
            <a:ext cx="357505" cy="358775"/>
          </a:xfrm>
          <a:custGeom>
            <a:avLst/>
            <a:gdLst/>
            <a:ahLst/>
            <a:cxnLst/>
            <a:rect l="l" t="t" r="r" b="b"/>
            <a:pathLst>
              <a:path w="357504" h="358775">
                <a:moveTo>
                  <a:pt x="356870" y="130098"/>
                </a:moveTo>
                <a:lnTo>
                  <a:pt x="310654" y="50050"/>
                </a:lnTo>
                <a:lnTo>
                  <a:pt x="299168" y="55224"/>
                </a:lnTo>
                <a:lnTo>
                  <a:pt x="286519" y="57758"/>
                </a:lnTo>
                <a:lnTo>
                  <a:pt x="245608" y="43828"/>
                </a:lnTo>
                <a:lnTo>
                  <a:pt x="226191" y="9097"/>
                </a:lnTo>
                <a:lnTo>
                  <a:pt x="225653" y="838"/>
                </a:lnTo>
                <a:lnTo>
                  <a:pt x="225767" y="431"/>
                </a:lnTo>
                <a:lnTo>
                  <a:pt x="225780" y="0"/>
                </a:lnTo>
                <a:lnTo>
                  <a:pt x="132245" y="0"/>
                </a:lnTo>
                <a:lnTo>
                  <a:pt x="132257" y="431"/>
                </a:lnTo>
                <a:lnTo>
                  <a:pt x="132372" y="838"/>
                </a:lnTo>
                <a:lnTo>
                  <a:pt x="132372" y="1282"/>
                </a:lnTo>
                <a:lnTo>
                  <a:pt x="117253" y="39804"/>
                </a:lnTo>
                <a:lnTo>
                  <a:pt x="80257" y="57745"/>
                </a:lnTo>
                <a:lnTo>
                  <a:pt x="65483" y="56673"/>
                </a:lnTo>
                <a:lnTo>
                  <a:pt x="53800" y="53316"/>
                </a:lnTo>
                <a:lnTo>
                  <a:pt x="0" y="129705"/>
                </a:lnTo>
                <a:lnTo>
                  <a:pt x="10686" y="137332"/>
                </a:lnTo>
                <a:lnTo>
                  <a:pt x="19341" y="147139"/>
                </a:lnTo>
                <a:lnTo>
                  <a:pt x="25547" y="158754"/>
                </a:lnTo>
                <a:lnTo>
                  <a:pt x="28885" y="171807"/>
                </a:lnTo>
                <a:lnTo>
                  <a:pt x="27748" y="187631"/>
                </a:lnTo>
                <a:lnTo>
                  <a:pt x="24002" y="201111"/>
                </a:lnTo>
                <a:lnTo>
                  <a:pt x="17971" y="212319"/>
                </a:lnTo>
                <a:lnTo>
                  <a:pt x="9982" y="221324"/>
                </a:lnTo>
                <a:lnTo>
                  <a:pt x="359" y="228197"/>
                </a:lnTo>
                <a:lnTo>
                  <a:pt x="46418" y="308991"/>
                </a:lnTo>
                <a:lnTo>
                  <a:pt x="57814" y="303612"/>
                </a:lnTo>
                <a:lnTo>
                  <a:pt x="70404" y="300855"/>
                </a:lnTo>
                <a:lnTo>
                  <a:pt x="86163" y="302421"/>
                </a:lnTo>
                <a:lnTo>
                  <a:pt x="121305" y="324072"/>
                </a:lnTo>
                <a:lnTo>
                  <a:pt x="132372" y="357606"/>
                </a:lnTo>
                <a:lnTo>
                  <a:pt x="132270" y="357949"/>
                </a:lnTo>
                <a:lnTo>
                  <a:pt x="132270" y="358305"/>
                </a:lnTo>
                <a:lnTo>
                  <a:pt x="225755" y="358305"/>
                </a:lnTo>
                <a:lnTo>
                  <a:pt x="225742" y="357949"/>
                </a:lnTo>
                <a:lnTo>
                  <a:pt x="225653" y="357606"/>
                </a:lnTo>
                <a:lnTo>
                  <a:pt x="225653" y="357251"/>
                </a:lnTo>
                <a:lnTo>
                  <a:pt x="240770" y="318718"/>
                </a:lnTo>
                <a:lnTo>
                  <a:pt x="277756" y="300775"/>
                </a:lnTo>
                <a:lnTo>
                  <a:pt x="292518" y="301846"/>
                </a:lnTo>
                <a:lnTo>
                  <a:pt x="304068" y="305186"/>
                </a:lnTo>
                <a:lnTo>
                  <a:pt x="356958" y="228053"/>
                </a:lnTo>
                <a:lnTo>
                  <a:pt x="346392" y="220310"/>
                </a:lnTo>
                <a:lnTo>
                  <a:pt x="337870" y="210411"/>
                </a:lnTo>
                <a:lnTo>
                  <a:pt x="331809" y="198725"/>
                </a:lnTo>
                <a:lnTo>
                  <a:pt x="328626" y="185623"/>
                </a:lnTo>
                <a:lnTo>
                  <a:pt x="329817" y="169989"/>
                </a:lnTo>
                <a:lnTo>
                  <a:pt x="333636" y="156633"/>
                </a:lnTo>
                <a:lnTo>
                  <a:pt x="339753" y="145503"/>
                </a:lnTo>
                <a:lnTo>
                  <a:pt x="347841" y="136545"/>
                </a:lnTo>
                <a:lnTo>
                  <a:pt x="356870" y="130098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bk object 23"/>
          <p:cNvSpPr/>
          <p:nvPr/>
        </p:nvSpPr>
        <p:spPr>
          <a:xfrm>
            <a:off x="8115010" y="8067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bk object 24"/>
          <p:cNvSpPr/>
          <p:nvPr/>
        </p:nvSpPr>
        <p:spPr>
          <a:xfrm>
            <a:off x="8115010" y="1161325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bk object 25"/>
          <p:cNvSpPr/>
          <p:nvPr/>
        </p:nvSpPr>
        <p:spPr>
          <a:xfrm>
            <a:off x="8321585" y="8049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bk object 26"/>
          <p:cNvSpPr/>
          <p:nvPr/>
        </p:nvSpPr>
        <p:spPr>
          <a:xfrm>
            <a:off x="8321585" y="1161325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bk object 27"/>
          <p:cNvSpPr/>
          <p:nvPr/>
        </p:nvSpPr>
        <p:spPr>
          <a:xfrm>
            <a:off x="8424185" y="9831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bk object 28"/>
          <p:cNvSpPr/>
          <p:nvPr/>
        </p:nvSpPr>
        <p:spPr>
          <a:xfrm>
            <a:off x="8010185" y="9831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bk object 29"/>
          <p:cNvSpPr/>
          <p:nvPr/>
        </p:nvSpPr>
        <p:spPr>
          <a:xfrm>
            <a:off x="8535599" y="1035599"/>
            <a:ext cx="99060" cy="0"/>
          </a:xfrm>
          <a:custGeom>
            <a:avLst/>
            <a:gdLst/>
            <a:ahLst/>
            <a:cxnLst/>
            <a:rect l="l" t="t" r="r" b="b"/>
            <a:pathLst>
              <a:path w="99059">
                <a:moveTo>
                  <a:pt x="0" y="0"/>
                </a:moveTo>
                <a:lnTo>
                  <a:pt x="98996" y="0"/>
                </a:lnTo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bk object 30"/>
          <p:cNvSpPr/>
          <p:nvPr/>
        </p:nvSpPr>
        <p:spPr>
          <a:xfrm>
            <a:off x="7911000" y="1035599"/>
            <a:ext cx="99060" cy="0"/>
          </a:xfrm>
          <a:custGeom>
            <a:avLst/>
            <a:gdLst/>
            <a:ahLst/>
            <a:cxnLst/>
            <a:rect l="l" t="t" r="r" b="b"/>
            <a:pathLst>
              <a:path w="99059">
                <a:moveTo>
                  <a:pt x="0" y="0"/>
                </a:moveTo>
                <a:lnTo>
                  <a:pt x="98996" y="0"/>
                </a:lnTo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0" i="0">
                <a:solidFill>
                  <a:schemeClr val="bg1"/>
                </a:solidFill>
                <a:latin typeface="Calibri" panose="020F0502020204030204" pitchFamily="34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0/1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753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39552" y="1556792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61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5381606"/>
      </p:ext>
    </p:extLst>
  </p:cSld>
  <p:clrMapOvr>
    <a:masterClrMapping/>
  </p:clrMapOvr>
  <p:transition/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3461" y="82601"/>
            <a:ext cx="3790555" cy="920778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978098" y="1695324"/>
            <a:ext cx="3785809" cy="55053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5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098" y="4001959"/>
            <a:ext cx="3785809" cy="184670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3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978098" y="2631223"/>
            <a:ext cx="3785809" cy="1218112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1044852" y="1694352"/>
            <a:ext cx="2834105" cy="290164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ru-RU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4978098" y="2209352"/>
            <a:ext cx="3785809" cy="391639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1042131" y="4752001"/>
            <a:ext cx="2833523" cy="25347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 b="1"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1042131" y="5020895"/>
            <a:ext cx="2832821" cy="82777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pPr>
              <a:defRPr/>
            </a:pPr>
            <a:r>
              <a:rPr lang="ru-RU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478961054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6 Imagen" descr="Dibujo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 cap="none" spc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s-ES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699658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cap="none" spc="0">
                <a:ln w="18415" cmpd="sng">
                  <a:solidFill>
                    <a:srgbClr val="0066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>
                <a:ln>
                  <a:noFill/>
                </a:ln>
                <a:solidFill>
                  <a:srgbClr val="0000CC"/>
                </a:solidFill>
              </a:defRPr>
            </a:lvl1pPr>
            <a:lvl2pPr>
              <a:defRPr>
                <a:ln>
                  <a:noFill/>
                </a:ln>
                <a:solidFill>
                  <a:srgbClr val="0000CC"/>
                </a:solidFill>
              </a:defRPr>
            </a:lvl2pPr>
            <a:lvl3pPr>
              <a:defRPr>
                <a:ln>
                  <a:noFill/>
                </a:ln>
                <a:solidFill>
                  <a:srgbClr val="0000CC"/>
                </a:solidFill>
              </a:defRPr>
            </a:lvl3pPr>
            <a:lvl4pPr>
              <a:defRPr>
                <a:ln>
                  <a:noFill/>
                </a:ln>
                <a:solidFill>
                  <a:srgbClr val="0000CC"/>
                </a:solidFill>
              </a:defRPr>
            </a:lvl4pPr>
            <a:lvl5pPr>
              <a:defRPr>
                <a:ln>
                  <a:noFill/>
                </a:ln>
                <a:solidFill>
                  <a:srgbClr val="0000C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063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н низ пра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niz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67363"/>
            <a:ext cx="9144000" cy="1290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groprinosLogo.wm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6429375"/>
            <a:ext cx="20716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2985"/>
            <a:ext cx="8229600" cy="4429156"/>
          </a:xfrm>
        </p:spPr>
        <p:txBody>
          <a:bodyPr/>
          <a:lstStyle>
            <a:lvl2pPr>
              <a:buFont typeface="Arial" pitchFamily="34" charset="0"/>
              <a:buChar char="•"/>
              <a:defRPr/>
            </a:lvl2pPr>
            <a:lvl3pPr>
              <a:buClr>
                <a:srgbClr val="FFFF00"/>
              </a:buClr>
              <a:defRPr/>
            </a:lvl3pPr>
            <a:lvl4pPr>
              <a:buFont typeface="Arial" pitchFamily="34" charset="0"/>
              <a:buChar char="•"/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4000496" y="6215082"/>
            <a:ext cx="4714908" cy="642918"/>
          </a:xfrm>
        </p:spPr>
        <p:txBody>
          <a:bodyPr>
            <a:normAutofit/>
          </a:bodyPr>
          <a:lstStyle>
            <a:lvl1pPr marL="0" indent="0" algn="r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4568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6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4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2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0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8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7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5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180144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271989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561398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997250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732967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343943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135779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647624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62477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423106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CF3432-3FD4-4A69-ADC3-B9782A10506E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4524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-36513" y="6638925"/>
            <a:ext cx="4249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7030A0"/>
                </a:solidFill>
              </a:rPr>
              <a:t>PUL 508-02-12</a:t>
            </a:r>
            <a:endParaRPr lang="en-GB" sz="1000" smtClean="0">
              <a:solidFill>
                <a:srgbClr val="7030A0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1547668" y="2708921"/>
            <a:ext cx="7169299" cy="1161405"/>
          </a:xfrm>
        </p:spPr>
        <p:txBody>
          <a:bodyPr anchor="ctr">
            <a:normAutofit/>
          </a:bodyPr>
          <a:lstStyle>
            <a:lvl1pPr algn="l">
              <a:defRPr sz="4400" b="0">
                <a:solidFill>
                  <a:schemeClr val="tx1"/>
                </a:solidFill>
                <a:latin typeface="Inform Cyr" pitchFamily="8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Текст 5"/>
          <p:cNvSpPr>
            <a:spLocks noGrp="1"/>
          </p:cNvSpPr>
          <p:nvPr>
            <p:ph type="body" sz="quarter" idx="11"/>
          </p:nvPr>
        </p:nvSpPr>
        <p:spPr>
          <a:xfrm>
            <a:off x="467546" y="2708921"/>
            <a:ext cx="936104" cy="1161405"/>
          </a:xfrm>
        </p:spPr>
        <p:txBody>
          <a:bodyPr anchor="ctr">
            <a:noAutofit/>
          </a:bodyPr>
          <a:lstStyle>
            <a:lvl1pPr algn="ctr">
              <a:defRPr sz="9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0323711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0632539"/>
      </p:ext>
    </p:extLst>
  </p:cSld>
  <p:clrMapOvr>
    <a:masterClrMapping/>
  </p:clrMapOvr>
  <p:transition spd="slow"/>
  <p:hf sldNum="0" hdr="0" ftr="0" dt="0"/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1"/>
          <p:cNvSpPr txBox="1">
            <a:spLocks noChangeArrowheads="1"/>
          </p:cNvSpPr>
          <p:nvPr userDrawn="1"/>
        </p:nvSpPr>
        <p:spPr bwMode="auto">
          <a:xfrm>
            <a:off x="3000375" y="6597650"/>
            <a:ext cx="25923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altLang="ru-RU" sz="1000">
                <a:solidFill>
                  <a:prstClr val="white"/>
                </a:solidFill>
                <a:cs typeface="Arial" panose="020B0604020202020204" pitchFamily="34" charset="0"/>
              </a:rPr>
              <a:t>PPE/COE/0109/0016/04 – </a:t>
            </a:r>
            <a:r>
              <a:rPr lang="ru-RU" altLang="ru-RU" sz="1000">
                <a:solidFill>
                  <a:prstClr val="white"/>
                </a:solidFill>
                <a:cs typeface="Arial" panose="020B0604020202020204" pitchFamily="34" charset="0"/>
              </a:rPr>
              <a:t>Ноябрь</a:t>
            </a:r>
            <a:r>
              <a:rPr lang="en-GB" altLang="ru-RU" sz="1000">
                <a:solidFill>
                  <a:prstClr val="white"/>
                </a:solidFill>
                <a:cs typeface="Arial" panose="020B0604020202020204" pitchFamily="34" charset="0"/>
              </a:rPr>
              <a:t> 200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80650"/>
            <a:ext cx="8715436" cy="766755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282" y="1142984"/>
            <a:ext cx="8715436" cy="485778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7081838" y="6492875"/>
            <a:ext cx="2133600" cy="365125"/>
          </a:xfrm>
        </p:spPr>
        <p:txBody>
          <a:bodyPr lIns="91440" tIns="45720" rIns="91440" bIns="45720"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A9D4F6CB-8402-4D78-BB3C-33CE19FC505E}" type="slidenum">
              <a:rPr lang="en-GB" altLang="ru-RU">
                <a:solidFill>
                  <a:prstClr val="white"/>
                </a:solidFill>
              </a:rPr>
              <a:pPr/>
              <a:t>‹#›</a:t>
            </a:fld>
            <a:endParaRPr lang="en-GB" alt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723646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4923702"/>
      </p:ext>
    </p:extLst>
  </p:cSld>
  <p:clrMapOvr>
    <a:masterClrMapping/>
  </p:clrMapOvr>
  <p:transition/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ru-RU" sz="36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9E7DB-9D35-43A4-BE3D-2EB1CFBC4894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76A92-EEC9-41F0-A536-3519A3AB0908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700215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андартное содержим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11"/>
          </p:nvPr>
        </p:nvSpPr>
        <p:spPr>
          <a:xfrm>
            <a:off x="539750" y="2097088"/>
            <a:ext cx="8064500" cy="3924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6B3FC-8E85-40B6-BB2C-E73045F2493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8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1">
                <a:latin typeface="Arial" pitchFamily="34" charset="0"/>
              </a:defRPr>
            </a:lvl1pPr>
          </a:lstStyle>
          <a:p>
            <a:fld id="{6A6A4948-8314-45FC-AEB5-B4A439D06A89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359876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316685849"/>
      </p:ext>
    </p:extLst>
  </p:cSld>
  <p:clrMapOvr>
    <a:masterClrMapping/>
  </p:clrMapOvr>
  <p:transition>
    <p:fade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2159D4-7CC9-473B-8FA7-13B9FC3EDAA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69796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395999"/>
            <a:ext cx="9144000" cy="6462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bk object 18"/>
          <p:cNvSpPr/>
          <p:nvPr/>
        </p:nvSpPr>
        <p:spPr>
          <a:xfrm>
            <a:off x="0" y="0"/>
            <a:ext cx="8290778" cy="12330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bk object 19"/>
          <p:cNvSpPr/>
          <p:nvPr/>
        </p:nvSpPr>
        <p:spPr>
          <a:xfrm>
            <a:off x="7858797" y="625195"/>
            <a:ext cx="828001" cy="8280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bk object 20"/>
          <p:cNvSpPr/>
          <p:nvPr/>
        </p:nvSpPr>
        <p:spPr>
          <a:xfrm>
            <a:off x="7910144" y="676554"/>
            <a:ext cx="725309" cy="7252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bk object 21"/>
          <p:cNvSpPr/>
          <p:nvPr/>
        </p:nvSpPr>
        <p:spPr>
          <a:xfrm>
            <a:off x="7910152" y="676553"/>
            <a:ext cx="725805" cy="725805"/>
          </a:xfrm>
          <a:custGeom>
            <a:avLst/>
            <a:gdLst/>
            <a:ahLst/>
            <a:cxnLst/>
            <a:rect l="l" t="t" r="r" b="b"/>
            <a:pathLst>
              <a:path w="725804" h="725805">
                <a:moveTo>
                  <a:pt x="362648" y="725297"/>
                </a:moveTo>
                <a:lnTo>
                  <a:pt x="421473" y="720550"/>
                </a:lnTo>
                <a:lnTo>
                  <a:pt x="477275" y="706808"/>
                </a:lnTo>
                <a:lnTo>
                  <a:pt x="529309" y="684817"/>
                </a:lnTo>
                <a:lnTo>
                  <a:pt x="576826" y="655325"/>
                </a:lnTo>
                <a:lnTo>
                  <a:pt x="619082" y="619077"/>
                </a:lnTo>
                <a:lnTo>
                  <a:pt x="655328" y="576821"/>
                </a:lnTo>
                <a:lnTo>
                  <a:pt x="684820" y="529303"/>
                </a:lnTo>
                <a:lnTo>
                  <a:pt x="706809" y="477271"/>
                </a:lnTo>
                <a:lnTo>
                  <a:pt x="720550" y="421470"/>
                </a:lnTo>
                <a:lnTo>
                  <a:pt x="725296" y="362648"/>
                </a:lnTo>
                <a:lnTo>
                  <a:pt x="724094" y="332904"/>
                </a:lnTo>
                <a:lnTo>
                  <a:pt x="714757" y="275497"/>
                </a:lnTo>
                <a:lnTo>
                  <a:pt x="696799" y="221486"/>
                </a:lnTo>
                <a:lnTo>
                  <a:pt x="670965" y="171617"/>
                </a:lnTo>
                <a:lnTo>
                  <a:pt x="638003" y="126638"/>
                </a:lnTo>
                <a:lnTo>
                  <a:pt x="598658" y="87293"/>
                </a:lnTo>
                <a:lnTo>
                  <a:pt x="553679" y="54331"/>
                </a:lnTo>
                <a:lnTo>
                  <a:pt x="503810" y="28497"/>
                </a:lnTo>
                <a:lnTo>
                  <a:pt x="449799" y="10539"/>
                </a:lnTo>
                <a:lnTo>
                  <a:pt x="392392" y="1202"/>
                </a:lnTo>
                <a:lnTo>
                  <a:pt x="362648" y="0"/>
                </a:lnTo>
                <a:lnTo>
                  <a:pt x="332904" y="1202"/>
                </a:lnTo>
                <a:lnTo>
                  <a:pt x="275497" y="10539"/>
                </a:lnTo>
                <a:lnTo>
                  <a:pt x="221486" y="28497"/>
                </a:lnTo>
                <a:lnTo>
                  <a:pt x="171617" y="54331"/>
                </a:lnTo>
                <a:lnTo>
                  <a:pt x="126638" y="87293"/>
                </a:lnTo>
                <a:lnTo>
                  <a:pt x="87293" y="126638"/>
                </a:lnTo>
                <a:lnTo>
                  <a:pt x="54331" y="171617"/>
                </a:lnTo>
                <a:lnTo>
                  <a:pt x="28497" y="221486"/>
                </a:lnTo>
                <a:lnTo>
                  <a:pt x="10539" y="275497"/>
                </a:lnTo>
                <a:lnTo>
                  <a:pt x="1202" y="332904"/>
                </a:lnTo>
                <a:lnTo>
                  <a:pt x="0" y="362648"/>
                </a:lnTo>
                <a:lnTo>
                  <a:pt x="1202" y="392390"/>
                </a:lnTo>
                <a:lnTo>
                  <a:pt x="10539" y="449795"/>
                </a:lnTo>
                <a:lnTo>
                  <a:pt x="28497" y="503805"/>
                </a:lnTo>
                <a:lnTo>
                  <a:pt x="54331" y="553673"/>
                </a:lnTo>
                <a:lnTo>
                  <a:pt x="87293" y="598653"/>
                </a:lnTo>
                <a:lnTo>
                  <a:pt x="126638" y="637998"/>
                </a:lnTo>
                <a:lnTo>
                  <a:pt x="171617" y="670962"/>
                </a:lnTo>
                <a:lnTo>
                  <a:pt x="221486" y="696797"/>
                </a:lnTo>
                <a:lnTo>
                  <a:pt x="275497" y="714757"/>
                </a:lnTo>
                <a:lnTo>
                  <a:pt x="332904" y="724094"/>
                </a:lnTo>
                <a:lnTo>
                  <a:pt x="362648" y="72529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bk object 22"/>
          <p:cNvSpPr/>
          <p:nvPr/>
        </p:nvSpPr>
        <p:spPr>
          <a:xfrm>
            <a:off x="8094899" y="860149"/>
            <a:ext cx="357505" cy="358775"/>
          </a:xfrm>
          <a:custGeom>
            <a:avLst/>
            <a:gdLst/>
            <a:ahLst/>
            <a:cxnLst/>
            <a:rect l="l" t="t" r="r" b="b"/>
            <a:pathLst>
              <a:path w="357504" h="358775">
                <a:moveTo>
                  <a:pt x="356870" y="130098"/>
                </a:moveTo>
                <a:lnTo>
                  <a:pt x="310654" y="50050"/>
                </a:lnTo>
                <a:lnTo>
                  <a:pt x="299168" y="55224"/>
                </a:lnTo>
                <a:lnTo>
                  <a:pt x="286519" y="57758"/>
                </a:lnTo>
                <a:lnTo>
                  <a:pt x="245608" y="43828"/>
                </a:lnTo>
                <a:lnTo>
                  <a:pt x="226191" y="9097"/>
                </a:lnTo>
                <a:lnTo>
                  <a:pt x="225653" y="838"/>
                </a:lnTo>
                <a:lnTo>
                  <a:pt x="225767" y="431"/>
                </a:lnTo>
                <a:lnTo>
                  <a:pt x="225780" y="0"/>
                </a:lnTo>
                <a:lnTo>
                  <a:pt x="132245" y="0"/>
                </a:lnTo>
                <a:lnTo>
                  <a:pt x="132257" y="431"/>
                </a:lnTo>
                <a:lnTo>
                  <a:pt x="132372" y="838"/>
                </a:lnTo>
                <a:lnTo>
                  <a:pt x="132372" y="1282"/>
                </a:lnTo>
                <a:lnTo>
                  <a:pt x="117253" y="39804"/>
                </a:lnTo>
                <a:lnTo>
                  <a:pt x="80257" y="57745"/>
                </a:lnTo>
                <a:lnTo>
                  <a:pt x="65483" y="56673"/>
                </a:lnTo>
                <a:lnTo>
                  <a:pt x="53800" y="53316"/>
                </a:lnTo>
                <a:lnTo>
                  <a:pt x="0" y="129705"/>
                </a:lnTo>
                <a:lnTo>
                  <a:pt x="10686" y="137332"/>
                </a:lnTo>
                <a:lnTo>
                  <a:pt x="19341" y="147139"/>
                </a:lnTo>
                <a:lnTo>
                  <a:pt x="25547" y="158754"/>
                </a:lnTo>
                <a:lnTo>
                  <a:pt x="28885" y="171807"/>
                </a:lnTo>
                <a:lnTo>
                  <a:pt x="27748" y="187631"/>
                </a:lnTo>
                <a:lnTo>
                  <a:pt x="24002" y="201111"/>
                </a:lnTo>
                <a:lnTo>
                  <a:pt x="17971" y="212319"/>
                </a:lnTo>
                <a:lnTo>
                  <a:pt x="9982" y="221324"/>
                </a:lnTo>
                <a:lnTo>
                  <a:pt x="359" y="228197"/>
                </a:lnTo>
                <a:lnTo>
                  <a:pt x="46418" y="308991"/>
                </a:lnTo>
                <a:lnTo>
                  <a:pt x="57814" y="303612"/>
                </a:lnTo>
                <a:lnTo>
                  <a:pt x="70404" y="300855"/>
                </a:lnTo>
                <a:lnTo>
                  <a:pt x="86163" y="302421"/>
                </a:lnTo>
                <a:lnTo>
                  <a:pt x="121305" y="324072"/>
                </a:lnTo>
                <a:lnTo>
                  <a:pt x="132372" y="357606"/>
                </a:lnTo>
                <a:lnTo>
                  <a:pt x="132270" y="357949"/>
                </a:lnTo>
                <a:lnTo>
                  <a:pt x="132270" y="358305"/>
                </a:lnTo>
                <a:lnTo>
                  <a:pt x="225755" y="358305"/>
                </a:lnTo>
                <a:lnTo>
                  <a:pt x="225742" y="357949"/>
                </a:lnTo>
                <a:lnTo>
                  <a:pt x="225653" y="357606"/>
                </a:lnTo>
                <a:lnTo>
                  <a:pt x="225653" y="357251"/>
                </a:lnTo>
                <a:lnTo>
                  <a:pt x="240770" y="318718"/>
                </a:lnTo>
                <a:lnTo>
                  <a:pt x="277756" y="300775"/>
                </a:lnTo>
                <a:lnTo>
                  <a:pt x="292518" y="301846"/>
                </a:lnTo>
                <a:lnTo>
                  <a:pt x="304068" y="305186"/>
                </a:lnTo>
                <a:lnTo>
                  <a:pt x="356958" y="228053"/>
                </a:lnTo>
                <a:lnTo>
                  <a:pt x="346392" y="220310"/>
                </a:lnTo>
                <a:lnTo>
                  <a:pt x="337870" y="210411"/>
                </a:lnTo>
                <a:lnTo>
                  <a:pt x="331809" y="198725"/>
                </a:lnTo>
                <a:lnTo>
                  <a:pt x="328626" y="185623"/>
                </a:lnTo>
                <a:lnTo>
                  <a:pt x="329817" y="169989"/>
                </a:lnTo>
                <a:lnTo>
                  <a:pt x="333636" y="156633"/>
                </a:lnTo>
                <a:lnTo>
                  <a:pt x="339753" y="145503"/>
                </a:lnTo>
                <a:lnTo>
                  <a:pt x="347841" y="136545"/>
                </a:lnTo>
                <a:lnTo>
                  <a:pt x="356870" y="130098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bk object 23"/>
          <p:cNvSpPr/>
          <p:nvPr/>
        </p:nvSpPr>
        <p:spPr>
          <a:xfrm>
            <a:off x="8115010" y="8067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bk object 24"/>
          <p:cNvSpPr/>
          <p:nvPr/>
        </p:nvSpPr>
        <p:spPr>
          <a:xfrm>
            <a:off x="8115010" y="1161325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bk object 25"/>
          <p:cNvSpPr/>
          <p:nvPr/>
        </p:nvSpPr>
        <p:spPr>
          <a:xfrm>
            <a:off x="8321585" y="8049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bk object 26"/>
          <p:cNvSpPr/>
          <p:nvPr/>
        </p:nvSpPr>
        <p:spPr>
          <a:xfrm>
            <a:off x="8321585" y="1161325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bk object 27"/>
          <p:cNvSpPr/>
          <p:nvPr/>
        </p:nvSpPr>
        <p:spPr>
          <a:xfrm>
            <a:off x="8424185" y="9831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bk object 28"/>
          <p:cNvSpPr/>
          <p:nvPr/>
        </p:nvSpPr>
        <p:spPr>
          <a:xfrm>
            <a:off x="8010185" y="9831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bk object 29"/>
          <p:cNvSpPr/>
          <p:nvPr/>
        </p:nvSpPr>
        <p:spPr>
          <a:xfrm>
            <a:off x="8535599" y="1035599"/>
            <a:ext cx="99060" cy="0"/>
          </a:xfrm>
          <a:custGeom>
            <a:avLst/>
            <a:gdLst/>
            <a:ahLst/>
            <a:cxnLst/>
            <a:rect l="l" t="t" r="r" b="b"/>
            <a:pathLst>
              <a:path w="99059">
                <a:moveTo>
                  <a:pt x="0" y="0"/>
                </a:moveTo>
                <a:lnTo>
                  <a:pt x="98996" y="0"/>
                </a:lnTo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bk object 30"/>
          <p:cNvSpPr/>
          <p:nvPr/>
        </p:nvSpPr>
        <p:spPr>
          <a:xfrm>
            <a:off x="7911000" y="1035599"/>
            <a:ext cx="99060" cy="0"/>
          </a:xfrm>
          <a:custGeom>
            <a:avLst/>
            <a:gdLst/>
            <a:ahLst/>
            <a:cxnLst/>
            <a:rect l="l" t="t" r="r" b="b"/>
            <a:pathLst>
              <a:path w="99059">
                <a:moveTo>
                  <a:pt x="0" y="0"/>
                </a:moveTo>
                <a:lnTo>
                  <a:pt x="98996" y="0"/>
                </a:lnTo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0" i="0">
                <a:solidFill>
                  <a:schemeClr val="bg1"/>
                </a:solidFill>
                <a:latin typeface="Calibri" panose="020F0502020204030204" pitchFamily="34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0/1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612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39552" y="1556792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429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037686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8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8596989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3461" y="82601"/>
            <a:ext cx="3790555" cy="920778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978098" y="1695324"/>
            <a:ext cx="3785809" cy="55053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5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098" y="4001959"/>
            <a:ext cx="3785809" cy="184670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3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978098" y="2631223"/>
            <a:ext cx="3785809" cy="1218112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1044852" y="1694352"/>
            <a:ext cx="2834105" cy="290164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ru-RU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4978098" y="2209352"/>
            <a:ext cx="3785809" cy="391639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1042131" y="4752001"/>
            <a:ext cx="2833523" cy="25347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 b="1"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1042131" y="5020895"/>
            <a:ext cx="2832821" cy="82777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pPr>
              <a:defRPr/>
            </a:pPr>
            <a:r>
              <a:rPr lang="ru-RU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2570699014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6 Imagen" descr="Dibujo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="1" cap="none" spc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s-ES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082170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cap="none" spc="0">
                <a:ln w="18415" cmpd="sng">
                  <a:solidFill>
                    <a:srgbClr val="0066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>
                <a:ln>
                  <a:noFill/>
                </a:ln>
                <a:solidFill>
                  <a:srgbClr val="0000CC"/>
                </a:solidFill>
              </a:defRPr>
            </a:lvl1pPr>
            <a:lvl2pPr>
              <a:defRPr>
                <a:ln>
                  <a:noFill/>
                </a:ln>
                <a:solidFill>
                  <a:srgbClr val="0000CC"/>
                </a:solidFill>
              </a:defRPr>
            </a:lvl2pPr>
            <a:lvl3pPr>
              <a:defRPr>
                <a:ln>
                  <a:noFill/>
                </a:ln>
                <a:solidFill>
                  <a:srgbClr val="0000CC"/>
                </a:solidFill>
              </a:defRPr>
            </a:lvl3pPr>
            <a:lvl4pPr>
              <a:defRPr>
                <a:ln>
                  <a:noFill/>
                </a:ln>
                <a:solidFill>
                  <a:srgbClr val="0000CC"/>
                </a:solidFill>
              </a:defRPr>
            </a:lvl4pPr>
            <a:lvl5pPr>
              <a:defRPr>
                <a:ln>
                  <a:noFill/>
                </a:ln>
                <a:solidFill>
                  <a:srgbClr val="0000C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950200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398744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48498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214562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50509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282806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22808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7271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2058" indent="-452058">
              <a:buSzPct val="100000"/>
              <a:buFont typeface="+mj-lt"/>
              <a:buAutoNum type="arabicPeriod"/>
              <a:defRPr/>
            </a:lvl1pPr>
            <a:lvl2pPr marL="683638" indent="-231580">
              <a:defRPr/>
            </a:lvl2pPr>
            <a:lvl3pPr marL="913632" indent="-229994">
              <a:defRPr/>
            </a:lvl3pPr>
            <a:lvl4pPr marL="1145211" indent="-231580">
              <a:defRPr/>
            </a:lvl4pPr>
            <a:lvl5pPr marL="1367273" indent="-222064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621275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18875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61652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CF3432-3FD4-4A69-ADC3-B9782A10506E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136877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632986"/>
      </p:ext>
    </p:extLst>
  </p:cSld>
  <p:clrMapOvr>
    <a:masterClrMapping/>
  </p:clrMapOvr>
  <p:transition spd="slow"/>
  <p:hf sldNum="0" hdr="0" ftr="0" dt="0"/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1"/>
          <p:cNvSpPr txBox="1">
            <a:spLocks noChangeArrowheads="1"/>
          </p:cNvSpPr>
          <p:nvPr userDrawn="1"/>
        </p:nvSpPr>
        <p:spPr bwMode="auto">
          <a:xfrm>
            <a:off x="3000375" y="6597650"/>
            <a:ext cx="25923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GB" altLang="ru-RU" sz="1000">
                <a:solidFill>
                  <a:prstClr val="white"/>
                </a:solidFill>
                <a:cs typeface="Arial" panose="020B0604020202020204" pitchFamily="34" charset="0"/>
              </a:rPr>
              <a:t>PPE/COE/0109/0016/04 – </a:t>
            </a:r>
            <a:r>
              <a:rPr lang="ru-RU" altLang="ru-RU" sz="1000">
                <a:solidFill>
                  <a:prstClr val="white"/>
                </a:solidFill>
                <a:cs typeface="Arial" panose="020B0604020202020204" pitchFamily="34" charset="0"/>
              </a:rPr>
              <a:t>Ноябрь</a:t>
            </a:r>
            <a:r>
              <a:rPr lang="en-GB" altLang="ru-RU" sz="1000">
                <a:solidFill>
                  <a:prstClr val="white"/>
                </a:solidFill>
                <a:cs typeface="Arial" panose="020B0604020202020204" pitchFamily="34" charset="0"/>
              </a:rPr>
              <a:t> 200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80650"/>
            <a:ext cx="8715436" cy="766755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282" y="1142984"/>
            <a:ext cx="8715436" cy="485778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7081838" y="6492875"/>
            <a:ext cx="2133600" cy="365125"/>
          </a:xfrm>
        </p:spPr>
        <p:txBody>
          <a:bodyPr lIns="91440" tIns="45720" rIns="91440" bIns="45720" anchor="ctr"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A9D4F6CB-8402-4D78-BB3C-33CE19FC505E}" type="slidenum">
              <a:rPr lang="en-GB" altLang="ru-RU">
                <a:solidFill>
                  <a:prstClr val="white"/>
                </a:solidFill>
              </a:rPr>
              <a:pPr/>
              <a:t>‹#›</a:t>
            </a:fld>
            <a:endParaRPr lang="en-GB" alt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386300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3932222"/>
      </p:ext>
    </p:extLst>
  </p:cSld>
  <p:clrMapOvr>
    <a:masterClrMapping/>
  </p:clrMapOvr>
  <p:transition/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ru-RU" sz="3600" b="1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39E7DB-9D35-43A4-BE3D-2EB1CFBC4894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76A92-EEC9-41F0-A536-3519A3AB0908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2873417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андартное содержим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11"/>
          </p:nvPr>
        </p:nvSpPr>
        <p:spPr>
          <a:xfrm>
            <a:off x="539750" y="2097088"/>
            <a:ext cx="8064500" cy="3924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846B3FC-8E85-40B6-BB2C-E73045F2493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8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1">
                <a:latin typeface="Arial" pitchFamily="34" charset="0"/>
              </a:defRPr>
            </a:lvl1pPr>
          </a:lstStyle>
          <a:p>
            <a:fld id="{6A6A4948-8314-45FC-AEB5-B4A439D06A89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024991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ru-RU" noProof="0" smtClean="0"/>
              <a:t>Образец заголовка</a:t>
            </a:r>
            <a:endParaRPr lang="ru-RU" noProof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951142525"/>
      </p:ext>
    </p:extLst>
  </p:cSld>
  <p:clrMapOvr>
    <a:masterClrMapping/>
  </p:clrMapOvr>
  <p:transition>
    <p:fade/>
  </p:transition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2159D4-7CC9-473B-8FA7-13B9FC3EDAA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6495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0" y="0"/>
            <a:ext cx="7242175" cy="1981200"/>
            <a:chOff x="0" y="0"/>
            <a:chExt cx="4562" cy="1248"/>
          </a:xfrm>
        </p:grpSpPr>
        <p:sp>
          <p:nvSpPr>
            <p:cNvPr id="6" name="Freeform 3"/>
            <p:cNvSpPr>
              <a:spLocks/>
            </p:cNvSpPr>
            <p:nvPr/>
          </p:nvSpPr>
          <p:spPr bwMode="hidden">
            <a:xfrm>
              <a:off x="0" y="583"/>
              <a:ext cx="4487" cy="665"/>
            </a:xfrm>
            <a:custGeom>
              <a:avLst/>
              <a:gdLst/>
              <a:ahLst/>
              <a:cxnLst>
                <a:cxn ang="0">
                  <a:pos x="4800" y="299"/>
                </a:cxn>
                <a:cxn ang="0">
                  <a:pos x="0" y="665"/>
                </a:cxn>
                <a:cxn ang="0">
                  <a:pos x="0" y="0"/>
                </a:cxn>
                <a:cxn ang="0">
                  <a:pos x="4806" y="1"/>
                </a:cxn>
                <a:cxn ang="0">
                  <a:pos x="4800" y="153"/>
                </a:cxn>
                <a:cxn ang="0">
                  <a:pos x="4800" y="299"/>
                </a:cxn>
              </a:cxnLst>
              <a:rect l="0" t="0" r="r" b="b"/>
              <a:pathLst>
                <a:path w="4806" h="665">
                  <a:moveTo>
                    <a:pt x="4800" y="299"/>
                  </a:moveTo>
                  <a:lnTo>
                    <a:pt x="0" y="665"/>
                  </a:lnTo>
                  <a:lnTo>
                    <a:pt x="0" y="0"/>
                  </a:lnTo>
                  <a:lnTo>
                    <a:pt x="4806" y="1"/>
                  </a:lnTo>
                  <a:lnTo>
                    <a:pt x="4800" y="153"/>
                  </a:lnTo>
                  <a:lnTo>
                    <a:pt x="4800" y="29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94118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FFFFFF"/>
                </a:solidFill>
              </a:endParaRP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hidden">
            <a:xfrm>
              <a:off x="0" y="0"/>
              <a:ext cx="4562" cy="1199"/>
            </a:xfrm>
            <a:custGeom>
              <a:avLst/>
              <a:gdLst>
                <a:gd name="T0" fmla="*/ 4560 w 4562"/>
                <a:gd name="T1" fmla="*/ 932 h 1199"/>
                <a:gd name="T2" fmla="*/ 0 w 4562"/>
                <a:gd name="T3" fmla="*/ 1199 h 1199"/>
                <a:gd name="T4" fmla="*/ 0 w 4562"/>
                <a:gd name="T5" fmla="*/ 0 h 1199"/>
                <a:gd name="T6" fmla="*/ 4562 w 4562"/>
                <a:gd name="T7" fmla="*/ 0 h 1199"/>
                <a:gd name="T8" fmla="*/ 4560 w 4562"/>
                <a:gd name="T9" fmla="*/ 932 h 1199"/>
                <a:gd name="T10" fmla="*/ 4560 w 4562"/>
                <a:gd name="T11" fmla="*/ 932 h 11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562" h="1199">
                  <a:moveTo>
                    <a:pt x="4560" y="932"/>
                  </a:moveTo>
                  <a:lnTo>
                    <a:pt x="0" y="1199"/>
                  </a:lnTo>
                  <a:lnTo>
                    <a:pt x="0" y="0"/>
                  </a:lnTo>
                  <a:lnTo>
                    <a:pt x="4562" y="0"/>
                  </a:lnTo>
                  <a:lnTo>
                    <a:pt x="4560" y="932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40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991" y="1600209"/>
            <a:ext cx="8229600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1pPr>
            <a:lvl2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2pPr>
            <a:lvl3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3pPr>
            <a:lvl4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4pPr>
            <a:lvl5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930" y="-28127"/>
            <a:ext cx="8143845" cy="864840"/>
          </a:xfrm>
          <a:prstGeom prst="rect">
            <a:avLst/>
          </a:prstGeom>
        </p:spPr>
        <p:txBody>
          <a:bodyPr rtlCol="0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ru-RU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848371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395999"/>
            <a:ext cx="9144000" cy="6462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bk object 18"/>
          <p:cNvSpPr/>
          <p:nvPr/>
        </p:nvSpPr>
        <p:spPr>
          <a:xfrm>
            <a:off x="0" y="0"/>
            <a:ext cx="8290778" cy="12330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bk object 19"/>
          <p:cNvSpPr/>
          <p:nvPr/>
        </p:nvSpPr>
        <p:spPr>
          <a:xfrm>
            <a:off x="7858797" y="625195"/>
            <a:ext cx="828001" cy="8280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bk object 20"/>
          <p:cNvSpPr/>
          <p:nvPr/>
        </p:nvSpPr>
        <p:spPr>
          <a:xfrm>
            <a:off x="7910144" y="676554"/>
            <a:ext cx="725309" cy="7252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bk object 21"/>
          <p:cNvSpPr/>
          <p:nvPr/>
        </p:nvSpPr>
        <p:spPr>
          <a:xfrm>
            <a:off x="7910152" y="676553"/>
            <a:ext cx="725805" cy="725805"/>
          </a:xfrm>
          <a:custGeom>
            <a:avLst/>
            <a:gdLst/>
            <a:ahLst/>
            <a:cxnLst/>
            <a:rect l="l" t="t" r="r" b="b"/>
            <a:pathLst>
              <a:path w="725804" h="725805">
                <a:moveTo>
                  <a:pt x="362648" y="725297"/>
                </a:moveTo>
                <a:lnTo>
                  <a:pt x="421473" y="720550"/>
                </a:lnTo>
                <a:lnTo>
                  <a:pt x="477275" y="706808"/>
                </a:lnTo>
                <a:lnTo>
                  <a:pt x="529309" y="684817"/>
                </a:lnTo>
                <a:lnTo>
                  <a:pt x="576826" y="655325"/>
                </a:lnTo>
                <a:lnTo>
                  <a:pt x="619082" y="619077"/>
                </a:lnTo>
                <a:lnTo>
                  <a:pt x="655328" y="576821"/>
                </a:lnTo>
                <a:lnTo>
                  <a:pt x="684820" y="529303"/>
                </a:lnTo>
                <a:lnTo>
                  <a:pt x="706809" y="477271"/>
                </a:lnTo>
                <a:lnTo>
                  <a:pt x="720550" y="421470"/>
                </a:lnTo>
                <a:lnTo>
                  <a:pt x="725296" y="362648"/>
                </a:lnTo>
                <a:lnTo>
                  <a:pt x="724094" y="332904"/>
                </a:lnTo>
                <a:lnTo>
                  <a:pt x="714757" y="275497"/>
                </a:lnTo>
                <a:lnTo>
                  <a:pt x="696799" y="221486"/>
                </a:lnTo>
                <a:lnTo>
                  <a:pt x="670965" y="171617"/>
                </a:lnTo>
                <a:lnTo>
                  <a:pt x="638003" y="126638"/>
                </a:lnTo>
                <a:lnTo>
                  <a:pt x="598658" y="87293"/>
                </a:lnTo>
                <a:lnTo>
                  <a:pt x="553679" y="54331"/>
                </a:lnTo>
                <a:lnTo>
                  <a:pt x="503810" y="28497"/>
                </a:lnTo>
                <a:lnTo>
                  <a:pt x="449799" y="10539"/>
                </a:lnTo>
                <a:lnTo>
                  <a:pt x="392392" y="1202"/>
                </a:lnTo>
                <a:lnTo>
                  <a:pt x="362648" y="0"/>
                </a:lnTo>
                <a:lnTo>
                  <a:pt x="332904" y="1202"/>
                </a:lnTo>
                <a:lnTo>
                  <a:pt x="275497" y="10539"/>
                </a:lnTo>
                <a:lnTo>
                  <a:pt x="221486" y="28497"/>
                </a:lnTo>
                <a:lnTo>
                  <a:pt x="171617" y="54331"/>
                </a:lnTo>
                <a:lnTo>
                  <a:pt x="126638" y="87293"/>
                </a:lnTo>
                <a:lnTo>
                  <a:pt x="87293" y="126638"/>
                </a:lnTo>
                <a:lnTo>
                  <a:pt x="54331" y="171617"/>
                </a:lnTo>
                <a:lnTo>
                  <a:pt x="28497" y="221486"/>
                </a:lnTo>
                <a:lnTo>
                  <a:pt x="10539" y="275497"/>
                </a:lnTo>
                <a:lnTo>
                  <a:pt x="1202" y="332904"/>
                </a:lnTo>
                <a:lnTo>
                  <a:pt x="0" y="362648"/>
                </a:lnTo>
                <a:lnTo>
                  <a:pt x="1202" y="392390"/>
                </a:lnTo>
                <a:lnTo>
                  <a:pt x="10539" y="449795"/>
                </a:lnTo>
                <a:lnTo>
                  <a:pt x="28497" y="503805"/>
                </a:lnTo>
                <a:lnTo>
                  <a:pt x="54331" y="553673"/>
                </a:lnTo>
                <a:lnTo>
                  <a:pt x="87293" y="598653"/>
                </a:lnTo>
                <a:lnTo>
                  <a:pt x="126638" y="637998"/>
                </a:lnTo>
                <a:lnTo>
                  <a:pt x="171617" y="670962"/>
                </a:lnTo>
                <a:lnTo>
                  <a:pt x="221486" y="696797"/>
                </a:lnTo>
                <a:lnTo>
                  <a:pt x="275497" y="714757"/>
                </a:lnTo>
                <a:lnTo>
                  <a:pt x="332904" y="724094"/>
                </a:lnTo>
                <a:lnTo>
                  <a:pt x="362648" y="72529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bk object 22"/>
          <p:cNvSpPr/>
          <p:nvPr/>
        </p:nvSpPr>
        <p:spPr>
          <a:xfrm>
            <a:off x="8094899" y="860149"/>
            <a:ext cx="357505" cy="358775"/>
          </a:xfrm>
          <a:custGeom>
            <a:avLst/>
            <a:gdLst/>
            <a:ahLst/>
            <a:cxnLst/>
            <a:rect l="l" t="t" r="r" b="b"/>
            <a:pathLst>
              <a:path w="357504" h="358775">
                <a:moveTo>
                  <a:pt x="356870" y="130098"/>
                </a:moveTo>
                <a:lnTo>
                  <a:pt x="310654" y="50050"/>
                </a:lnTo>
                <a:lnTo>
                  <a:pt x="299168" y="55224"/>
                </a:lnTo>
                <a:lnTo>
                  <a:pt x="286519" y="57758"/>
                </a:lnTo>
                <a:lnTo>
                  <a:pt x="245608" y="43828"/>
                </a:lnTo>
                <a:lnTo>
                  <a:pt x="226191" y="9097"/>
                </a:lnTo>
                <a:lnTo>
                  <a:pt x="225653" y="838"/>
                </a:lnTo>
                <a:lnTo>
                  <a:pt x="225767" y="431"/>
                </a:lnTo>
                <a:lnTo>
                  <a:pt x="225780" y="0"/>
                </a:lnTo>
                <a:lnTo>
                  <a:pt x="132245" y="0"/>
                </a:lnTo>
                <a:lnTo>
                  <a:pt x="132257" y="431"/>
                </a:lnTo>
                <a:lnTo>
                  <a:pt x="132372" y="838"/>
                </a:lnTo>
                <a:lnTo>
                  <a:pt x="132372" y="1282"/>
                </a:lnTo>
                <a:lnTo>
                  <a:pt x="117253" y="39804"/>
                </a:lnTo>
                <a:lnTo>
                  <a:pt x="80257" y="57745"/>
                </a:lnTo>
                <a:lnTo>
                  <a:pt x="65483" y="56673"/>
                </a:lnTo>
                <a:lnTo>
                  <a:pt x="53800" y="53316"/>
                </a:lnTo>
                <a:lnTo>
                  <a:pt x="0" y="129705"/>
                </a:lnTo>
                <a:lnTo>
                  <a:pt x="10686" y="137332"/>
                </a:lnTo>
                <a:lnTo>
                  <a:pt x="19341" y="147139"/>
                </a:lnTo>
                <a:lnTo>
                  <a:pt x="25547" y="158754"/>
                </a:lnTo>
                <a:lnTo>
                  <a:pt x="28885" y="171807"/>
                </a:lnTo>
                <a:lnTo>
                  <a:pt x="27748" y="187631"/>
                </a:lnTo>
                <a:lnTo>
                  <a:pt x="24002" y="201111"/>
                </a:lnTo>
                <a:lnTo>
                  <a:pt x="17971" y="212319"/>
                </a:lnTo>
                <a:lnTo>
                  <a:pt x="9982" y="221324"/>
                </a:lnTo>
                <a:lnTo>
                  <a:pt x="359" y="228197"/>
                </a:lnTo>
                <a:lnTo>
                  <a:pt x="46418" y="308991"/>
                </a:lnTo>
                <a:lnTo>
                  <a:pt x="57814" y="303612"/>
                </a:lnTo>
                <a:lnTo>
                  <a:pt x="70404" y="300855"/>
                </a:lnTo>
                <a:lnTo>
                  <a:pt x="86163" y="302421"/>
                </a:lnTo>
                <a:lnTo>
                  <a:pt x="121305" y="324072"/>
                </a:lnTo>
                <a:lnTo>
                  <a:pt x="132372" y="357606"/>
                </a:lnTo>
                <a:lnTo>
                  <a:pt x="132270" y="357949"/>
                </a:lnTo>
                <a:lnTo>
                  <a:pt x="132270" y="358305"/>
                </a:lnTo>
                <a:lnTo>
                  <a:pt x="225755" y="358305"/>
                </a:lnTo>
                <a:lnTo>
                  <a:pt x="225742" y="357949"/>
                </a:lnTo>
                <a:lnTo>
                  <a:pt x="225653" y="357606"/>
                </a:lnTo>
                <a:lnTo>
                  <a:pt x="225653" y="357251"/>
                </a:lnTo>
                <a:lnTo>
                  <a:pt x="240770" y="318718"/>
                </a:lnTo>
                <a:lnTo>
                  <a:pt x="277756" y="300775"/>
                </a:lnTo>
                <a:lnTo>
                  <a:pt x="292518" y="301846"/>
                </a:lnTo>
                <a:lnTo>
                  <a:pt x="304068" y="305186"/>
                </a:lnTo>
                <a:lnTo>
                  <a:pt x="356958" y="228053"/>
                </a:lnTo>
                <a:lnTo>
                  <a:pt x="346392" y="220310"/>
                </a:lnTo>
                <a:lnTo>
                  <a:pt x="337870" y="210411"/>
                </a:lnTo>
                <a:lnTo>
                  <a:pt x="331809" y="198725"/>
                </a:lnTo>
                <a:lnTo>
                  <a:pt x="328626" y="185623"/>
                </a:lnTo>
                <a:lnTo>
                  <a:pt x="329817" y="169989"/>
                </a:lnTo>
                <a:lnTo>
                  <a:pt x="333636" y="156633"/>
                </a:lnTo>
                <a:lnTo>
                  <a:pt x="339753" y="145503"/>
                </a:lnTo>
                <a:lnTo>
                  <a:pt x="347841" y="136545"/>
                </a:lnTo>
                <a:lnTo>
                  <a:pt x="356870" y="130098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bk object 23"/>
          <p:cNvSpPr/>
          <p:nvPr/>
        </p:nvSpPr>
        <p:spPr>
          <a:xfrm>
            <a:off x="8115010" y="8067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bk object 24"/>
          <p:cNvSpPr/>
          <p:nvPr/>
        </p:nvSpPr>
        <p:spPr>
          <a:xfrm>
            <a:off x="8115010" y="1161325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bk object 25"/>
          <p:cNvSpPr/>
          <p:nvPr/>
        </p:nvSpPr>
        <p:spPr>
          <a:xfrm>
            <a:off x="8321585" y="8049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bk object 26"/>
          <p:cNvSpPr/>
          <p:nvPr/>
        </p:nvSpPr>
        <p:spPr>
          <a:xfrm>
            <a:off x="8321585" y="1161325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bk object 27"/>
          <p:cNvSpPr/>
          <p:nvPr/>
        </p:nvSpPr>
        <p:spPr>
          <a:xfrm>
            <a:off x="8424185" y="9831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bk object 28"/>
          <p:cNvSpPr/>
          <p:nvPr/>
        </p:nvSpPr>
        <p:spPr>
          <a:xfrm>
            <a:off x="8010185" y="983126"/>
            <a:ext cx="112395" cy="113030"/>
          </a:xfrm>
          <a:custGeom>
            <a:avLst/>
            <a:gdLst/>
            <a:ahLst/>
            <a:cxnLst/>
            <a:rect l="l" t="t" r="r" b="b"/>
            <a:pathLst>
              <a:path w="112395" h="113030">
                <a:moveTo>
                  <a:pt x="55614" y="112723"/>
                </a:moveTo>
                <a:lnTo>
                  <a:pt x="94143" y="97607"/>
                </a:lnTo>
                <a:lnTo>
                  <a:pt x="112089" y="60618"/>
                </a:lnTo>
                <a:lnTo>
                  <a:pt x="110468" y="45051"/>
                </a:lnTo>
                <a:lnTo>
                  <a:pt x="88480" y="10206"/>
                </a:lnTo>
                <a:lnTo>
                  <a:pt x="63687" y="0"/>
                </a:lnTo>
                <a:lnTo>
                  <a:pt x="47270" y="1364"/>
                </a:lnTo>
                <a:lnTo>
                  <a:pt x="11079" y="21821"/>
                </a:lnTo>
                <a:lnTo>
                  <a:pt x="0" y="45279"/>
                </a:lnTo>
                <a:lnTo>
                  <a:pt x="1115" y="62291"/>
                </a:lnTo>
                <a:lnTo>
                  <a:pt x="20323" y="99485"/>
                </a:lnTo>
                <a:lnTo>
                  <a:pt x="55614" y="112723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bk object 29"/>
          <p:cNvSpPr/>
          <p:nvPr/>
        </p:nvSpPr>
        <p:spPr>
          <a:xfrm>
            <a:off x="8535599" y="1035599"/>
            <a:ext cx="99060" cy="0"/>
          </a:xfrm>
          <a:custGeom>
            <a:avLst/>
            <a:gdLst/>
            <a:ahLst/>
            <a:cxnLst/>
            <a:rect l="l" t="t" r="r" b="b"/>
            <a:pathLst>
              <a:path w="99059">
                <a:moveTo>
                  <a:pt x="0" y="0"/>
                </a:moveTo>
                <a:lnTo>
                  <a:pt x="98996" y="0"/>
                </a:lnTo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bk object 30"/>
          <p:cNvSpPr/>
          <p:nvPr/>
        </p:nvSpPr>
        <p:spPr>
          <a:xfrm>
            <a:off x="7911000" y="1035599"/>
            <a:ext cx="99060" cy="0"/>
          </a:xfrm>
          <a:custGeom>
            <a:avLst/>
            <a:gdLst/>
            <a:ahLst/>
            <a:cxnLst/>
            <a:rect l="l" t="t" r="r" b="b"/>
            <a:pathLst>
              <a:path w="99059">
                <a:moveTo>
                  <a:pt x="0" y="0"/>
                </a:moveTo>
                <a:lnTo>
                  <a:pt x="98996" y="0"/>
                </a:lnTo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0" i="0">
                <a:solidFill>
                  <a:schemeClr val="bg1"/>
                </a:solidFill>
                <a:latin typeface="Calibri" panose="020F0502020204030204" pitchFamily="34" charset="0"/>
                <a:cs typeface="Arial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0/1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815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39552" y="1556792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185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9304832"/>
      </p:ext>
    </p:extLst>
  </p:cSld>
  <p:clrMapOvr>
    <a:masterClrMapping/>
  </p:clrMapOvr>
  <p:transition/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3461" y="82601"/>
            <a:ext cx="3790555" cy="920778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978098" y="1695324"/>
            <a:ext cx="3785809" cy="55053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5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098" y="4001959"/>
            <a:ext cx="3785809" cy="184670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3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978098" y="2631223"/>
            <a:ext cx="3785809" cy="1218112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1044852" y="1694352"/>
            <a:ext cx="2834105" cy="290164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ru-RU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4978098" y="2209352"/>
            <a:ext cx="3785809" cy="391639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1042131" y="4752001"/>
            <a:ext cx="2833523" cy="25347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 b="1"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1042131" y="5020895"/>
            <a:ext cx="2832821" cy="82777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pPr>
              <a:defRPr/>
            </a:pPr>
            <a:r>
              <a:rPr lang="ru-RU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2204936039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9140825" cy="6850063"/>
            <a:chOff x="0" y="0"/>
            <a:chExt cx="5758" cy="4315"/>
          </a:xfrm>
        </p:grpSpPr>
        <p:grpSp>
          <p:nvGrpSpPr>
            <p:cNvPr id="5" name="Group 3"/>
            <p:cNvGrpSpPr>
              <a:grpSpLocks/>
            </p:cNvGrpSpPr>
            <p:nvPr userDrawn="1"/>
          </p:nvGrpSpPr>
          <p:grpSpPr bwMode="auto">
            <a:xfrm>
              <a:off x="1728" y="2230"/>
              <a:ext cx="4027" cy="2085"/>
              <a:chOff x="1728" y="2230"/>
              <a:chExt cx="4027" cy="2085"/>
            </a:xfrm>
          </p:grpSpPr>
          <p:sp>
            <p:nvSpPr>
              <p:cNvPr id="8" name="Freeform 4"/>
              <p:cNvSpPr>
                <a:spLocks/>
              </p:cNvSpPr>
              <p:nvPr/>
            </p:nvSpPr>
            <p:spPr bwMode="hidden">
              <a:xfrm>
                <a:off x="1728" y="2644"/>
                <a:ext cx="2882" cy="1671"/>
              </a:xfrm>
              <a:custGeom>
                <a:avLst/>
                <a:gdLst>
                  <a:gd name="T0" fmla="*/ 2740 w 2882"/>
                  <a:gd name="T1" fmla="*/ 528 h 1671"/>
                  <a:gd name="T2" fmla="*/ 2632 w 2882"/>
                  <a:gd name="T3" fmla="*/ 484 h 1671"/>
                  <a:gd name="T4" fmla="*/ 2480 w 2882"/>
                  <a:gd name="T5" fmla="*/ 424 h 1671"/>
                  <a:gd name="T6" fmla="*/ 2203 w 2882"/>
                  <a:gd name="T7" fmla="*/ 343 h 1671"/>
                  <a:gd name="T8" fmla="*/ 1970 w 2882"/>
                  <a:gd name="T9" fmla="*/ 277 h 1671"/>
                  <a:gd name="T10" fmla="*/ 1807 w 2882"/>
                  <a:gd name="T11" fmla="*/ 212 h 1671"/>
                  <a:gd name="T12" fmla="*/ 1693 w 2882"/>
                  <a:gd name="T13" fmla="*/ 152 h 1671"/>
                  <a:gd name="T14" fmla="*/ 1628 w 2882"/>
                  <a:gd name="T15" fmla="*/ 103 h 1671"/>
                  <a:gd name="T16" fmla="*/ 1590 w 2882"/>
                  <a:gd name="T17" fmla="*/ 60 h 1671"/>
                  <a:gd name="T18" fmla="*/ 1579 w 2882"/>
                  <a:gd name="T19" fmla="*/ 27 h 1671"/>
                  <a:gd name="T20" fmla="*/ 1585 w 2882"/>
                  <a:gd name="T21" fmla="*/ 0 h 1671"/>
                  <a:gd name="T22" fmla="*/ 1557 w 2882"/>
                  <a:gd name="T23" fmla="*/ 49 h 1671"/>
                  <a:gd name="T24" fmla="*/ 1568 w 2882"/>
                  <a:gd name="T25" fmla="*/ 98 h 1671"/>
                  <a:gd name="T26" fmla="*/ 1617 w 2882"/>
                  <a:gd name="T27" fmla="*/ 141 h 1671"/>
                  <a:gd name="T28" fmla="*/ 1688 w 2882"/>
                  <a:gd name="T29" fmla="*/ 185 h 1671"/>
                  <a:gd name="T30" fmla="*/ 1791 w 2882"/>
                  <a:gd name="T31" fmla="*/ 228 h 1671"/>
                  <a:gd name="T32" fmla="*/ 2040 w 2882"/>
                  <a:gd name="T33" fmla="*/ 310 h 1671"/>
                  <a:gd name="T34" fmla="*/ 2285 w 2882"/>
                  <a:gd name="T35" fmla="*/ 381 h 1671"/>
                  <a:gd name="T36" fmla="*/ 2464 w 2882"/>
                  <a:gd name="T37" fmla="*/ 435 h 1671"/>
                  <a:gd name="T38" fmla="*/ 2605 w 2882"/>
                  <a:gd name="T39" fmla="*/ 484 h 1671"/>
                  <a:gd name="T40" fmla="*/ 2708 w 2882"/>
                  <a:gd name="T41" fmla="*/ 528 h 1671"/>
                  <a:gd name="T42" fmla="*/ 2768 w 2882"/>
                  <a:gd name="T43" fmla="*/ 560 h 1671"/>
                  <a:gd name="T44" fmla="*/ 2795 w 2882"/>
                  <a:gd name="T45" fmla="*/ 593 h 1671"/>
                  <a:gd name="T46" fmla="*/ 2795 w 2882"/>
                  <a:gd name="T47" fmla="*/ 642 h 1671"/>
                  <a:gd name="T48" fmla="*/ 2762 w 2882"/>
                  <a:gd name="T49" fmla="*/ 691 h 1671"/>
                  <a:gd name="T50" fmla="*/ 2692 w 2882"/>
                  <a:gd name="T51" fmla="*/ 735 h 1671"/>
                  <a:gd name="T52" fmla="*/ 2589 w 2882"/>
                  <a:gd name="T53" fmla="*/ 778 h 1671"/>
                  <a:gd name="T54" fmla="*/ 2458 w 2882"/>
                  <a:gd name="T55" fmla="*/ 822 h 1671"/>
                  <a:gd name="T56" fmla="*/ 2301 w 2882"/>
                  <a:gd name="T57" fmla="*/ 865 h 1671"/>
                  <a:gd name="T58" fmla="*/ 2030 w 2882"/>
                  <a:gd name="T59" fmla="*/ 930 h 1671"/>
                  <a:gd name="T60" fmla="*/ 1606 w 2882"/>
                  <a:gd name="T61" fmla="*/ 1034 h 1671"/>
                  <a:gd name="T62" fmla="*/ 1145 w 2882"/>
                  <a:gd name="T63" fmla="*/ 1164 h 1671"/>
                  <a:gd name="T64" fmla="*/ 673 w 2882"/>
                  <a:gd name="T65" fmla="*/ 1328 h 1671"/>
                  <a:gd name="T66" fmla="*/ 217 w 2882"/>
                  <a:gd name="T67" fmla="*/ 1545 h 1671"/>
                  <a:gd name="T68" fmla="*/ 353 w 2882"/>
                  <a:gd name="T69" fmla="*/ 1671 h 1671"/>
                  <a:gd name="T70" fmla="*/ 754 w 2882"/>
                  <a:gd name="T71" fmla="*/ 1469 h 1671"/>
                  <a:gd name="T72" fmla="*/ 1145 w 2882"/>
                  <a:gd name="T73" fmla="*/ 1311 h 1671"/>
                  <a:gd name="T74" fmla="*/ 1519 w 2882"/>
                  <a:gd name="T75" fmla="*/ 1186 h 1671"/>
                  <a:gd name="T76" fmla="*/ 1861 w 2882"/>
                  <a:gd name="T77" fmla="*/ 1083 h 1671"/>
                  <a:gd name="T78" fmla="*/ 2165 w 2882"/>
                  <a:gd name="T79" fmla="*/ 1007 h 1671"/>
                  <a:gd name="T80" fmla="*/ 2426 w 2882"/>
                  <a:gd name="T81" fmla="*/ 947 h 1671"/>
                  <a:gd name="T82" fmla="*/ 2626 w 2882"/>
                  <a:gd name="T83" fmla="*/ 892 h 1671"/>
                  <a:gd name="T84" fmla="*/ 2762 w 2882"/>
                  <a:gd name="T85" fmla="*/ 838 h 1671"/>
                  <a:gd name="T86" fmla="*/ 2827 w 2882"/>
                  <a:gd name="T87" fmla="*/ 794 h 1671"/>
                  <a:gd name="T88" fmla="*/ 2865 w 2882"/>
                  <a:gd name="T89" fmla="*/ 745 h 1671"/>
                  <a:gd name="T90" fmla="*/ 2882 w 2882"/>
                  <a:gd name="T91" fmla="*/ 702 h 1671"/>
                  <a:gd name="T92" fmla="*/ 2854 w 2882"/>
                  <a:gd name="T93" fmla="*/ 620 h 1671"/>
                  <a:gd name="T94" fmla="*/ 2800 w 2882"/>
                  <a:gd name="T95" fmla="*/ 560 h 1671"/>
                  <a:gd name="T96" fmla="*/ 2773 w 2882"/>
                  <a:gd name="T97" fmla="*/ 544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82" h="1671">
                    <a:moveTo>
                      <a:pt x="2773" y="544"/>
                    </a:moveTo>
                    <a:lnTo>
                      <a:pt x="2740" y="528"/>
                    </a:lnTo>
                    <a:lnTo>
                      <a:pt x="2692" y="506"/>
                    </a:lnTo>
                    <a:lnTo>
                      <a:pt x="2632" y="484"/>
                    </a:lnTo>
                    <a:lnTo>
                      <a:pt x="2561" y="457"/>
                    </a:lnTo>
                    <a:lnTo>
                      <a:pt x="2480" y="424"/>
                    </a:lnTo>
                    <a:lnTo>
                      <a:pt x="2388" y="397"/>
                    </a:lnTo>
                    <a:lnTo>
                      <a:pt x="2203" y="343"/>
                    </a:lnTo>
                    <a:lnTo>
                      <a:pt x="2078" y="310"/>
                    </a:lnTo>
                    <a:lnTo>
                      <a:pt x="1970" y="277"/>
                    </a:lnTo>
                    <a:lnTo>
                      <a:pt x="1878" y="245"/>
                    </a:lnTo>
                    <a:lnTo>
                      <a:pt x="1807" y="212"/>
                    </a:lnTo>
                    <a:lnTo>
                      <a:pt x="1742" y="179"/>
                    </a:lnTo>
                    <a:lnTo>
                      <a:pt x="1693" y="152"/>
                    </a:lnTo>
                    <a:lnTo>
                      <a:pt x="1655" y="125"/>
                    </a:lnTo>
                    <a:lnTo>
                      <a:pt x="1628" y="103"/>
                    </a:lnTo>
                    <a:lnTo>
                      <a:pt x="1606" y="81"/>
                    </a:lnTo>
                    <a:lnTo>
                      <a:pt x="1590" y="60"/>
                    </a:lnTo>
                    <a:lnTo>
                      <a:pt x="1585" y="43"/>
                    </a:lnTo>
                    <a:lnTo>
                      <a:pt x="1579" y="27"/>
                    </a:lnTo>
                    <a:lnTo>
                      <a:pt x="1585" y="5"/>
                    </a:lnTo>
                    <a:lnTo>
                      <a:pt x="1585" y="0"/>
                    </a:lnTo>
                    <a:lnTo>
                      <a:pt x="1568" y="27"/>
                    </a:lnTo>
                    <a:lnTo>
                      <a:pt x="1557" y="49"/>
                    </a:lnTo>
                    <a:lnTo>
                      <a:pt x="1557" y="76"/>
                    </a:lnTo>
                    <a:lnTo>
                      <a:pt x="1568" y="98"/>
                    </a:lnTo>
                    <a:lnTo>
                      <a:pt x="1590" y="120"/>
                    </a:lnTo>
                    <a:lnTo>
                      <a:pt x="1617" y="141"/>
                    </a:lnTo>
                    <a:lnTo>
                      <a:pt x="1650" y="163"/>
                    </a:lnTo>
                    <a:lnTo>
                      <a:pt x="1688" y="185"/>
                    </a:lnTo>
                    <a:lnTo>
                      <a:pt x="1737" y="207"/>
                    </a:lnTo>
                    <a:lnTo>
                      <a:pt x="1791" y="228"/>
                    </a:lnTo>
                    <a:lnTo>
                      <a:pt x="1905" y="267"/>
                    </a:lnTo>
                    <a:lnTo>
                      <a:pt x="2040" y="310"/>
                    </a:lnTo>
                    <a:lnTo>
                      <a:pt x="2182" y="348"/>
                    </a:lnTo>
                    <a:lnTo>
                      <a:pt x="2285" y="381"/>
                    </a:lnTo>
                    <a:lnTo>
                      <a:pt x="2382" y="408"/>
                    </a:lnTo>
                    <a:lnTo>
                      <a:pt x="2464" y="435"/>
                    </a:lnTo>
                    <a:lnTo>
                      <a:pt x="2540" y="462"/>
                    </a:lnTo>
                    <a:lnTo>
                      <a:pt x="2605" y="484"/>
                    </a:lnTo>
                    <a:lnTo>
                      <a:pt x="2659" y="506"/>
                    </a:lnTo>
                    <a:lnTo>
                      <a:pt x="2708" y="528"/>
                    </a:lnTo>
                    <a:lnTo>
                      <a:pt x="2740" y="544"/>
                    </a:lnTo>
                    <a:lnTo>
                      <a:pt x="2768" y="560"/>
                    </a:lnTo>
                    <a:lnTo>
                      <a:pt x="2784" y="577"/>
                    </a:lnTo>
                    <a:lnTo>
                      <a:pt x="2795" y="593"/>
                    </a:lnTo>
                    <a:lnTo>
                      <a:pt x="2800" y="615"/>
                    </a:lnTo>
                    <a:lnTo>
                      <a:pt x="2795" y="642"/>
                    </a:lnTo>
                    <a:lnTo>
                      <a:pt x="2784" y="664"/>
                    </a:lnTo>
                    <a:lnTo>
                      <a:pt x="2762" y="691"/>
                    </a:lnTo>
                    <a:lnTo>
                      <a:pt x="2730" y="713"/>
                    </a:lnTo>
                    <a:lnTo>
                      <a:pt x="2692" y="735"/>
                    </a:lnTo>
                    <a:lnTo>
                      <a:pt x="2643" y="756"/>
                    </a:lnTo>
                    <a:lnTo>
                      <a:pt x="2589" y="778"/>
                    </a:lnTo>
                    <a:lnTo>
                      <a:pt x="2529" y="800"/>
                    </a:lnTo>
                    <a:lnTo>
                      <a:pt x="2458" y="822"/>
                    </a:lnTo>
                    <a:lnTo>
                      <a:pt x="2382" y="843"/>
                    </a:lnTo>
                    <a:lnTo>
                      <a:pt x="2301" y="865"/>
                    </a:lnTo>
                    <a:lnTo>
                      <a:pt x="2214" y="887"/>
                    </a:lnTo>
                    <a:lnTo>
                      <a:pt x="2030" y="930"/>
                    </a:lnTo>
                    <a:lnTo>
                      <a:pt x="1823" y="979"/>
                    </a:lnTo>
                    <a:lnTo>
                      <a:pt x="1606" y="1034"/>
                    </a:lnTo>
                    <a:lnTo>
                      <a:pt x="1378" y="1094"/>
                    </a:lnTo>
                    <a:lnTo>
                      <a:pt x="1145" y="1164"/>
                    </a:lnTo>
                    <a:lnTo>
                      <a:pt x="912" y="1241"/>
                    </a:lnTo>
                    <a:lnTo>
                      <a:pt x="673" y="1328"/>
                    </a:lnTo>
                    <a:lnTo>
                      <a:pt x="440" y="1431"/>
                    </a:lnTo>
                    <a:lnTo>
                      <a:pt x="217" y="1545"/>
                    </a:lnTo>
                    <a:lnTo>
                      <a:pt x="0" y="1671"/>
                    </a:lnTo>
                    <a:lnTo>
                      <a:pt x="353" y="1671"/>
                    </a:lnTo>
                    <a:lnTo>
                      <a:pt x="554" y="1567"/>
                    </a:lnTo>
                    <a:lnTo>
                      <a:pt x="754" y="1469"/>
                    </a:lnTo>
                    <a:lnTo>
                      <a:pt x="955" y="1388"/>
                    </a:lnTo>
                    <a:lnTo>
                      <a:pt x="1145" y="1311"/>
                    </a:lnTo>
                    <a:lnTo>
                      <a:pt x="1335" y="1241"/>
                    </a:lnTo>
                    <a:lnTo>
                      <a:pt x="1519" y="1186"/>
                    </a:lnTo>
                    <a:lnTo>
                      <a:pt x="1693" y="1132"/>
                    </a:lnTo>
                    <a:lnTo>
                      <a:pt x="1861" y="1083"/>
                    </a:lnTo>
                    <a:lnTo>
                      <a:pt x="2019" y="1045"/>
                    </a:lnTo>
                    <a:lnTo>
                      <a:pt x="2165" y="1007"/>
                    </a:lnTo>
                    <a:lnTo>
                      <a:pt x="2301" y="974"/>
                    </a:lnTo>
                    <a:lnTo>
                      <a:pt x="2426" y="947"/>
                    </a:lnTo>
                    <a:lnTo>
                      <a:pt x="2534" y="914"/>
                    </a:lnTo>
                    <a:lnTo>
                      <a:pt x="2626" y="892"/>
                    </a:lnTo>
                    <a:lnTo>
                      <a:pt x="2702" y="865"/>
                    </a:lnTo>
                    <a:lnTo>
                      <a:pt x="2762" y="838"/>
                    </a:lnTo>
                    <a:lnTo>
                      <a:pt x="2800" y="816"/>
                    </a:lnTo>
                    <a:lnTo>
                      <a:pt x="2827" y="794"/>
                    </a:lnTo>
                    <a:lnTo>
                      <a:pt x="2849" y="767"/>
                    </a:lnTo>
                    <a:lnTo>
                      <a:pt x="2865" y="745"/>
                    </a:lnTo>
                    <a:lnTo>
                      <a:pt x="2876" y="724"/>
                    </a:lnTo>
                    <a:lnTo>
                      <a:pt x="2882" y="702"/>
                    </a:lnTo>
                    <a:lnTo>
                      <a:pt x="2876" y="658"/>
                    </a:lnTo>
                    <a:lnTo>
                      <a:pt x="2854" y="620"/>
                    </a:lnTo>
                    <a:lnTo>
                      <a:pt x="2833" y="588"/>
                    </a:lnTo>
                    <a:lnTo>
                      <a:pt x="2800" y="560"/>
                    </a:lnTo>
                    <a:lnTo>
                      <a:pt x="2773" y="544"/>
                    </a:lnTo>
                    <a:lnTo>
                      <a:pt x="2773" y="544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Freeform 5"/>
              <p:cNvSpPr>
                <a:spLocks/>
              </p:cNvSpPr>
              <p:nvPr/>
            </p:nvSpPr>
            <p:spPr bwMode="hidden">
              <a:xfrm>
                <a:off x="4170" y="2671"/>
                <a:ext cx="1259" cy="811"/>
              </a:xfrm>
              <a:custGeom>
                <a:avLst/>
                <a:gdLst>
                  <a:gd name="T0" fmla="*/ 1259 w 1259"/>
                  <a:gd name="T1" fmla="*/ 615 h 811"/>
                  <a:gd name="T2" fmla="*/ 1248 w 1259"/>
                  <a:gd name="T3" fmla="*/ 588 h 811"/>
                  <a:gd name="T4" fmla="*/ 1237 w 1259"/>
                  <a:gd name="T5" fmla="*/ 566 h 811"/>
                  <a:gd name="T6" fmla="*/ 1216 w 1259"/>
                  <a:gd name="T7" fmla="*/ 539 h 811"/>
                  <a:gd name="T8" fmla="*/ 1188 w 1259"/>
                  <a:gd name="T9" fmla="*/ 517 h 811"/>
                  <a:gd name="T10" fmla="*/ 1123 w 1259"/>
                  <a:gd name="T11" fmla="*/ 479 h 811"/>
                  <a:gd name="T12" fmla="*/ 1042 w 1259"/>
                  <a:gd name="T13" fmla="*/ 441 h 811"/>
                  <a:gd name="T14" fmla="*/ 944 w 1259"/>
                  <a:gd name="T15" fmla="*/ 408 h 811"/>
                  <a:gd name="T16" fmla="*/ 841 w 1259"/>
                  <a:gd name="T17" fmla="*/ 381 h 811"/>
                  <a:gd name="T18" fmla="*/ 727 w 1259"/>
                  <a:gd name="T19" fmla="*/ 348 h 811"/>
                  <a:gd name="T20" fmla="*/ 613 w 1259"/>
                  <a:gd name="T21" fmla="*/ 321 h 811"/>
                  <a:gd name="T22" fmla="*/ 499 w 1259"/>
                  <a:gd name="T23" fmla="*/ 294 h 811"/>
                  <a:gd name="T24" fmla="*/ 391 w 1259"/>
                  <a:gd name="T25" fmla="*/ 261 h 811"/>
                  <a:gd name="T26" fmla="*/ 288 w 1259"/>
                  <a:gd name="T27" fmla="*/ 229 h 811"/>
                  <a:gd name="T28" fmla="*/ 195 w 1259"/>
                  <a:gd name="T29" fmla="*/ 196 h 811"/>
                  <a:gd name="T30" fmla="*/ 119 w 1259"/>
                  <a:gd name="T31" fmla="*/ 152 h 811"/>
                  <a:gd name="T32" fmla="*/ 54 w 1259"/>
                  <a:gd name="T33" fmla="*/ 109 h 811"/>
                  <a:gd name="T34" fmla="*/ 33 w 1259"/>
                  <a:gd name="T35" fmla="*/ 87 h 811"/>
                  <a:gd name="T36" fmla="*/ 16 w 1259"/>
                  <a:gd name="T37" fmla="*/ 60 h 811"/>
                  <a:gd name="T38" fmla="*/ 5 w 1259"/>
                  <a:gd name="T39" fmla="*/ 33 h 811"/>
                  <a:gd name="T40" fmla="*/ 0 w 1259"/>
                  <a:gd name="T41" fmla="*/ 0 h 811"/>
                  <a:gd name="T42" fmla="*/ 0 w 1259"/>
                  <a:gd name="T43" fmla="*/ 6 h 811"/>
                  <a:gd name="T44" fmla="*/ 0 w 1259"/>
                  <a:gd name="T45" fmla="*/ 11 h 811"/>
                  <a:gd name="T46" fmla="*/ 0 w 1259"/>
                  <a:gd name="T47" fmla="*/ 38 h 811"/>
                  <a:gd name="T48" fmla="*/ 5 w 1259"/>
                  <a:gd name="T49" fmla="*/ 60 h 811"/>
                  <a:gd name="T50" fmla="*/ 16 w 1259"/>
                  <a:gd name="T51" fmla="*/ 87 h 811"/>
                  <a:gd name="T52" fmla="*/ 33 w 1259"/>
                  <a:gd name="T53" fmla="*/ 114 h 811"/>
                  <a:gd name="T54" fmla="*/ 54 w 1259"/>
                  <a:gd name="T55" fmla="*/ 142 h 811"/>
                  <a:gd name="T56" fmla="*/ 87 w 1259"/>
                  <a:gd name="T57" fmla="*/ 174 h 811"/>
                  <a:gd name="T58" fmla="*/ 125 w 1259"/>
                  <a:gd name="T59" fmla="*/ 207 h 811"/>
                  <a:gd name="T60" fmla="*/ 179 w 1259"/>
                  <a:gd name="T61" fmla="*/ 240 h 811"/>
                  <a:gd name="T62" fmla="*/ 244 w 1259"/>
                  <a:gd name="T63" fmla="*/ 278 h 811"/>
                  <a:gd name="T64" fmla="*/ 326 w 1259"/>
                  <a:gd name="T65" fmla="*/ 310 h 811"/>
                  <a:gd name="T66" fmla="*/ 418 w 1259"/>
                  <a:gd name="T67" fmla="*/ 348 h 811"/>
                  <a:gd name="T68" fmla="*/ 526 w 1259"/>
                  <a:gd name="T69" fmla="*/ 381 h 811"/>
                  <a:gd name="T70" fmla="*/ 657 w 1259"/>
                  <a:gd name="T71" fmla="*/ 414 h 811"/>
                  <a:gd name="T72" fmla="*/ 749 w 1259"/>
                  <a:gd name="T73" fmla="*/ 435 h 811"/>
                  <a:gd name="T74" fmla="*/ 830 w 1259"/>
                  <a:gd name="T75" fmla="*/ 463 h 811"/>
                  <a:gd name="T76" fmla="*/ 901 w 1259"/>
                  <a:gd name="T77" fmla="*/ 490 h 811"/>
                  <a:gd name="T78" fmla="*/ 966 w 1259"/>
                  <a:gd name="T79" fmla="*/ 512 h 811"/>
                  <a:gd name="T80" fmla="*/ 1015 w 1259"/>
                  <a:gd name="T81" fmla="*/ 539 h 811"/>
                  <a:gd name="T82" fmla="*/ 1053 w 1259"/>
                  <a:gd name="T83" fmla="*/ 566 h 811"/>
                  <a:gd name="T84" fmla="*/ 1080 w 1259"/>
                  <a:gd name="T85" fmla="*/ 593 h 811"/>
                  <a:gd name="T86" fmla="*/ 1102 w 1259"/>
                  <a:gd name="T87" fmla="*/ 620 h 811"/>
                  <a:gd name="T88" fmla="*/ 1112 w 1259"/>
                  <a:gd name="T89" fmla="*/ 648 h 811"/>
                  <a:gd name="T90" fmla="*/ 1118 w 1259"/>
                  <a:gd name="T91" fmla="*/ 675 h 811"/>
                  <a:gd name="T92" fmla="*/ 1112 w 1259"/>
                  <a:gd name="T93" fmla="*/ 697 h 811"/>
                  <a:gd name="T94" fmla="*/ 1096 w 1259"/>
                  <a:gd name="T95" fmla="*/ 724 h 811"/>
                  <a:gd name="T96" fmla="*/ 1080 w 1259"/>
                  <a:gd name="T97" fmla="*/ 746 h 811"/>
                  <a:gd name="T98" fmla="*/ 1053 w 1259"/>
                  <a:gd name="T99" fmla="*/ 767 h 811"/>
                  <a:gd name="T100" fmla="*/ 1015 w 1259"/>
                  <a:gd name="T101" fmla="*/ 789 h 811"/>
                  <a:gd name="T102" fmla="*/ 977 w 1259"/>
                  <a:gd name="T103" fmla="*/ 811 h 811"/>
                  <a:gd name="T104" fmla="*/ 1047 w 1259"/>
                  <a:gd name="T105" fmla="*/ 789 h 811"/>
                  <a:gd name="T106" fmla="*/ 1107 w 1259"/>
                  <a:gd name="T107" fmla="*/ 767 h 811"/>
                  <a:gd name="T108" fmla="*/ 1156 w 1259"/>
                  <a:gd name="T109" fmla="*/ 746 h 811"/>
                  <a:gd name="T110" fmla="*/ 1199 w 1259"/>
                  <a:gd name="T111" fmla="*/ 724 h 811"/>
                  <a:gd name="T112" fmla="*/ 1226 w 1259"/>
                  <a:gd name="T113" fmla="*/ 702 h 811"/>
                  <a:gd name="T114" fmla="*/ 1248 w 1259"/>
                  <a:gd name="T115" fmla="*/ 675 h 811"/>
                  <a:gd name="T116" fmla="*/ 1259 w 1259"/>
                  <a:gd name="T117" fmla="*/ 648 h 811"/>
                  <a:gd name="T118" fmla="*/ 1259 w 1259"/>
                  <a:gd name="T119" fmla="*/ 615 h 811"/>
                  <a:gd name="T120" fmla="*/ 1259 w 1259"/>
                  <a:gd name="T121" fmla="*/ 615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59" h="811">
                    <a:moveTo>
                      <a:pt x="1259" y="615"/>
                    </a:moveTo>
                    <a:lnTo>
                      <a:pt x="1248" y="588"/>
                    </a:lnTo>
                    <a:lnTo>
                      <a:pt x="1237" y="566"/>
                    </a:lnTo>
                    <a:lnTo>
                      <a:pt x="1216" y="539"/>
                    </a:lnTo>
                    <a:lnTo>
                      <a:pt x="1188" y="517"/>
                    </a:lnTo>
                    <a:lnTo>
                      <a:pt x="1123" y="479"/>
                    </a:lnTo>
                    <a:lnTo>
                      <a:pt x="1042" y="441"/>
                    </a:lnTo>
                    <a:lnTo>
                      <a:pt x="944" y="408"/>
                    </a:lnTo>
                    <a:lnTo>
                      <a:pt x="841" y="381"/>
                    </a:lnTo>
                    <a:lnTo>
                      <a:pt x="727" y="348"/>
                    </a:lnTo>
                    <a:lnTo>
                      <a:pt x="613" y="321"/>
                    </a:lnTo>
                    <a:lnTo>
                      <a:pt x="499" y="294"/>
                    </a:lnTo>
                    <a:lnTo>
                      <a:pt x="391" y="261"/>
                    </a:lnTo>
                    <a:lnTo>
                      <a:pt x="288" y="229"/>
                    </a:lnTo>
                    <a:lnTo>
                      <a:pt x="195" y="196"/>
                    </a:lnTo>
                    <a:lnTo>
                      <a:pt x="119" y="152"/>
                    </a:lnTo>
                    <a:lnTo>
                      <a:pt x="54" y="109"/>
                    </a:lnTo>
                    <a:lnTo>
                      <a:pt x="33" y="87"/>
                    </a:lnTo>
                    <a:lnTo>
                      <a:pt x="16" y="60"/>
                    </a:lnTo>
                    <a:lnTo>
                      <a:pt x="5" y="33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38"/>
                    </a:lnTo>
                    <a:lnTo>
                      <a:pt x="5" y="60"/>
                    </a:lnTo>
                    <a:lnTo>
                      <a:pt x="16" y="87"/>
                    </a:lnTo>
                    <a:lnTo>
                      <a:pt x="33" y="114"/>
                    </a:lnTo>
                    <a:lnTo>
                      <a:pt x="54" y="142"/>
                    </a:lnTo>
                    <a:lnTo>
                      <a:pt x="87" y="174"/>
                    </a:lnTo>
                    <a:lnTo>
                      <a:pt x="125" y="207"/>
                    </a:lnTo>
                    <a:lnTo>
                      <a:pt x="179" y="240"/>
                    </a:lnTo>
                    <a:lnTo>
                      <a:pt x="244" y="278"/>
                    </a:lnTo>
                    <a:lnTo>
                      <a:pt x="326" y="310"/>
                    </a:lnTo>
                    <a:lnTo>
                      <a:pt x="418" y="348"/>
                    </a:lnTo>
                    <a:lnTo>
                      <a:pt x="526" y="381"/>
                    </a:lnTo>
                    <a:lnTo>
                      <a:pt x="657" y="414"/>
                    </a:lnTo>
                    <a:lnTo>
                      <a:pt x="749" y="435"/>
                    </a:lnTo>
                    <a:lnTo>
                      <a:pt x="830" y="463"/>
                    </a:lnTo>
                    <a:lnTo>
                      <a:pt x="901" y="490"/>
                    </a:lnTo>
                    <a:lnTo>
                      <a:pt x="966" y="512"/>
                    </a:lnTo>
                    <a:lnTo>
                      <a:pt x="1015" y="539"/>
                    </a:lnTo>
                    <a:lnTo>
                      <a:pt x="1053" y="566"/>
                    </a:lnTo>
                    <a:lnTo>
                      <a:pt x="1080" y="593"/>
                    </a:lnTo>
                    <a:lnTo>
                      <a:pt x="1102" y="620"/>
                    </a:lnTo>
                    <a:lnTo>
                      <a:pt x="1112" y="648"/>
                    </a:lnTo>
                    <a:lnTo>
                      <a:pt x="1118" y="675"/>
                    </a:lnTo>
                    <a:lnTo>
                      <a:pt x="1112" y="697"/>
                    </a:lnTo>
                    <a:lnTo>
                      <a:pt x="1096" y="724"/>
                    </a:lnTo>
                    <a:lnTo>
                      <a:pt x="1080" y="746"/>
                    </a:lnTo>
                    <a:lnTo>
                      <a:pt x="1053" y="767"/>
                    </a:lnTo>
                    <a:lnTo>
                      <a:pt x="1015" y="789"/>
                    </a:lnTo>
                    <a:lnTo>
                      <a:pt x="977" y="811"/>
                    </a:lnTo>
                    <a:lnTo>
                      <a:pt x="1047" y="789"/>
                    </a:lnTo>
                    <a:lnTo>
                      <a:pt x="1107" y="767"/>
                    </a:lnTo>
                    <a:lnTo>
                      <a:pt x="1156" y="746"/>
                    </a:lnTo>
                    <a:lnTo>
                      <a:pt x="1199" y="724"/>
                    </a:lnTo>
                    <a:lnTo>
                      <a:pt x="1226" y="702"/>
                    </a:lnTo>
                    <a:lnTo>
                      <a:pt x="1248" y="675"/>
                    </a:lnTo>
                    <a:lnTo>
                      <a:pt x="1259" y="648"/>
                    </a:lnTo>
                    <a:lnTo>
                      <a:pt x="1259" y="615"/>
                    </a:lnTo>
                    <a:lnTo>
                      <a:pt x="1259" y="61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Freeform 6"/>
              <p:cNvSpPr>
                <a:spLocks/>
              </p:cNvSpPr>
              <p:nvPr/>
            </p:nvSpPr>
            <p:spPr bwMode="hidden">
              <a:xfrm>
                <a:off x="2900" y="3346"/>
                <a:ext cx="2849" cy="969"/>
              </a:xfrm>
              <a:custGeom>
                <a:avLst/>
                <a:gdLst>
                  <a:gd name="T0" fmla="*/ 92 w 2849"/>
                  <a:gd name="T1" fmla="*/ 958 h 969"/>
                  <a:gd name="T2" fmla="*/ 0 w 2849"/>
                  <a:gd name="T3" fmla="*/ 969 h 969"/>
                  <a:gd name="T4" fmla="*/ 391 w 2849"/>
                  <a:gd name="T5" fmla="*/ 969 h 969"/>
                  <a:gd name="T6" fmla="*/ 434 w 2849"/>
                  <a:gd name="T7" fmla="*/ 947 h 969"/>
                  <a:gd name="T8" fmla="*/ 483 w 2849"/>
                  <a:gd name="T9" fmla="*/ 914 h 969"/>
                  <a:gd name="T10" fmla="*/ 554 w 2849"/>
                  <a:gd name="T11" fmla="*/ 876 h 969"/>
                  <a:gd name="T12" fmla="*/ 635 w 2849"/>
                  <a:gd name="T13" fmla="*/ 838 h 969"/>
                  <a:gd name="T14" fmla="*/ 727 w 2849"/>
                  <a:gd name="T15" fmla="*/ 794 h 969"/>
                  <a:gd name="T16" fmla="*/ 836 w 2849"/>
                  <a:gd name="T17" fmla="*/ 745 h 969"/>
                  <a:gd name="T18" fmla="*/ 961 w 2849"/>
                  <a:gd name="T19" fmla="*/ 696 h 969"/>
                  <a:gd name="T20" fmla="*/ 1102 w 2849"/>
                  <a:gd name="T21" fmla="*/ 642 h 969"/>
                  <a:gd name="T22" fmla="*/ 1259 w 2849"/>
                  <a:gd name="T23" fmla="*/ 582 h 969"/>
                  <a:gd name="T24" fmla="*/ 1433 w 2849"/>
                  <a:gd name="T25" fmla="*/ 522 h 969"/>
                  <a:gd name="T26" fmla="*/ 1623 w 2849"/>
                  <a:gd name="T27" fmla="*/ 462 h 969"/>
                  <a:gd name="T28" fmla="*/ 1829 w 2849"/>
                  <a:gd name="T29" fmla="*/ 403 h 969"/>
                  <a:gd name="T30" fmla="*/ 2057 w 2849"/>
                  <a:gd name="T31" fmla="*/ 343 h 969"/>
                  <a:gd name="T32" fmla="*/ 2301 w 2849"/>
                  <a:gd name="T33" fmla="*/ 283 h 969"/>
                  <a:gd name="T34" fmla="*/ 2567 w 2849"/>
                  <a:gd name="T35" fmla="*/ 223 h 969"/>
                  <a:gd name="T36" fmla="*/ 2849 w 2849"/>
                  <a:gd name="T37" fmla="*/ 163 h 969"/>
                  <a:gd name="T38" fmla="*/ 2849 w 2849"/>
                  <a:gd name="T39" fmla="*/ 0 h 969"/>
                  <a:gd name="T40" fmla="*/ 2817 w 2849"/>
                  <a:gd name="T41" fmla="*/ 16 h 969"/>
                  <a:gd name="T42" fmla="*/ 2773 w 2849"/>
                  <a:gd name="T43" fmla="*/ 33 h 969"/>
                  <a:gd name="T44" fmla="*/ 2719 w 2849"/>
                  <a:gd name="T45" fmla="*/ 54 h 969"/>
                  <a:gd name="T46" fmla="*/ 2648 w 2849"/>
                  <a:gd name="T47" fmla="*/ 76 h 969"/>
                  <a:gd name="T48" fmla="*/ 2572 w 2849"/>
                  <a:gd name="T49" fmla="*/ 98 h 969"/>
                  <a:gd name="T50" fmla="*/ 2491 w 2849"/>
                  <a:gd name="T51" fmla="*/ 120 h 969"/>
                  <a:gd name="T52" fmla="*/ 2399 w 2849"/>
                  <a:gd name="T53" fmla="*/ 147 h 969"/>
                  <a:gd name="T54" fmla="*/ 2301 w 2849"/>
                  <a:gd name="T55" fmla="*/ 169 h 969"/>
                  <a:gd name="T56" fmla="*/ 2095 w 2849"/>
                  <a:gd name="T57" fmla="*/ 223 h 969"/>
                  <a:gd name="T58" fmla="*/ 1889 w 2849"/>
                  <a:gd name="T59" fmla="*/ 277 h 969"/>
                  <a:gd name="T60" fmla="*/ 1688 w 2849"/>
                  <a:gd name="T61" fmla="*/ 326 h 969"/>
                  <a:gd name="T62" fmla="*/ 1590 w 2849"/>
                  <a:gd name="T63" fmla="*/ 354 h 969"/>
                  <a:gd name="T64" fmla="*/ 1503 w 2849"/>
                  <a:gd name="T65" fmla="*/ 381 h 969"/>
                  <a:gd name="T66" fmla="*/ 1107 w 2849"/>
                  <a:gd name="T67" fmla="*/ 506 h 969"/>
                  <a:gd name="T68" fmla="*/ 912 w 2849"/>
                  <a:gd name="T69" fmla="*/ 577 h 969"/>
                  <a:gd name="T70" fmla="*/ 727 w 2849"/>
                  <a:gd name="T71" fmla="*/ 647 h 969"/>
                  <a:gd name="T72" fmla="*/ 548 w 2849"/>
                  <a:gd name="T73" fmla="*/ 718 h 969"/>
                  <a:gd name="T74" fmla="*/ 380 w 2849"/>
                  <a:gd name="T75" fmla="*/ 794 h 969"/>
                  <a:gd name="T76" fmla="*/ 228 w 2849"/>
                  <a:gd name="T77" fmla="*/ 876 h 969"/>
                  <a:gd name="T78" fmla="*/ 92 w 2849"/>
                  <a:gd name="T79" fmla="*/ 958 h 969"/>
                  <a:gd name="T80" fmla="*/ 92 w 2849"/>
                  <a:gd name="T81" fmla="*/ 958 h 9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849" h="969">
                    <a:moveTo>
                      <a:pt x="92" y="958"/>
                    </a:moveTo>
                    <a:lnTo>
                      <a:pt x="0" y="969"/>
                    </a:lnTo>
                    <a:lnTo>
                      <a:pt x="391" y="969"/>
                    </a:lnTo>
                    <a:lnTo>
                      <a:pt x="434" y="947"/>
                    </a:lnTo>
                    <a:lnTo>
                      <a:pt x="483" y="914"/>
                    </a:lnTo>
                    <a:lnTo>
                      <a:pt x="554" y="876"/>
                    </a:lnTo>
                    <a:lnTo>
                      <a:pt x="635" y="838"/>
                    </a:lnTo>
                    <a:lnTo>
                      <a:pt x="727" y="794"/>
                    </a:lnTo>
                    <a:lnTo>
                      <a:pt x="836" y="745"/>
                    </a:lnTo>
                    <a:lnTo>
                      <a:pt x="961" y="696"/>
                    </a:lnTo>
                    <a:lnTo>
                      <a:pt x="1102" y="642"/>
                    </a:lnTo>
                    <a:lnTo>
                      <a:pt x="1259" y="582"/>
                    </a:lnTo>
                    <a:lnTo>
                      <a:pt x="1433" y="522"/>
                    </a:lnTo>
                    <a:lnTo>
                      <a:pt x="1623" y="462"/>
                    </a:lnTo>
                    <a:lnTo>
                      <a:pt x="1829" y="403"/>
                    </a:lnTo>
                    <a:lnTo>
                      <a:pt x="2057" y="343"/>
                    </a:lnTo>
                    <a:lnTo>
                      <a:pt x="2301" y="283"/>
                    </a:lnTo>
                    <a:lnTo>
                      <a:pt x="2567" y="223"/>
                    </a:lnTo>
                    <a:lnTo>
                      <a:pt x="2849" y="163"/>
                    </a:lnTo>
                    <a:lnTo>
                      <a:pt x="2849" y="0"/>
                    </a:lnTo>
                    <a:lnTo>
                      <a:pt x="2817" y="16"/>
                    </a:lnTo>
                    <a:lnTo>
                      <a:pt x="2773" y="33"/>
                    </a:lnTo>
                    <a:lnTo>
                      <a:pt x="2719" y="54"/>
                    </a:lnTo>
                    <a:lnTo>
                      <a:pt x="2648" y="76"/>
                    </a:lnTo>
                    <a:lnTo>
                      <a:pt x="2572" y="98"/>
                    </a:lnTo>
                    <a:lnTo>
                      <a:pt x="2491" y="120"/>
                    </a:lnTo>
                    <a:lnTo>
                      <a:pt x="2399" y="147"/>
                    </a:lnTo>
                    <a:lnTo>
                      <a:pt x="2301" y="169"/>
                    </a:lnTo>
                    <a:lnTo>
                      <a:pt x="2095" y="223"/>
                    </a:lnTo>
                    <a:lnTo>
                      <a:pt x="1889" y="277"/>
                    </a:lnTo>
                    <a:lnTo>
                      <a:pt x="1688" y="326"/>
                    </a:lnTo>
                    <a:lnTo>
                      <a:pt x="1590" y="354"/>
                    </a:lnTo>
                    <a:lnTo>
                      <a:pt x="1503" y="381"/>
                    </a:lnTo>
                    <a:lnTo>
                      <a:pt x="1107" y="506"/>
                    </a:lnTo>
                    <a:lnTo>
                      <a:pt x="912" y="577"/>
                    </a:lnTo>
                    <a:lnTo>
                      <a:pt x="727" y="647"/>
                    </a:lnTo>
                    <a:lnTo>
                      <a:pt x="548" y="718"/>
                    </a:lnTo>
                    <a:lnTo>
                      <a:pt x="380" y="794"/>
                    </a:lnTo>
                    <a:lnTo>
                      <a:pt x="228" y="876"/>
                    </a:lnTo>
                    <a:lnTo>
                      <a:pt x="92" y="958"/>
                    </a:lnTo>
                    <a:lnTo>
                      <a:pt x="92" y="958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1961"/>
                      <a:invGamma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Freeform 7"/>
              <p:cNvSpPr>
                <a:spLocks/>
              </p:cNvSpPr>
              <p:nvPr/>
            </p:nvSpPr>
            <p:spPr bwMode="hidden">
              <a:xfrm>
                <a:off x="2748" y="2230"/>
                <a:ext cx="3007" cy="2085"/>
              </a:xfrm>
              <a:custGeom>
                <a:avLst/>
                <a:gdLst>
                  <a:gd name="T0" fmla="*/ 1433 w 3007"/>
                  <a:gd name="T1" fmla="*/ 474 h 2085"/>
                  <a:gd name="T2" fmla="*/ 1460 w 3007"/>
                  <a:gd name="T3" fmla="*/ 528 h 2085"/>
                  <a:gd name="T4" fmla="*/ 1541 w 3007"/>
                  <a:gd name="T5" fmla="*/ 593 h 2085"/>
                  <a:gd name="T6" fmla="*/ 1715 w 3007"/>
                  <a:gd name="T7" fmla="*/ 670 h 2085"/>
                  <a:gd name="T8" fmla="*/ 1927 w 3007"/>
                  <a:gd name="T9" fmla="*/ 735 h 2085"/>
                  <a:gd name="T10" fmla="*/ 2155 w 3007"/>
                  <a:gd name="T11" fmla="*/ 789 h 2085"/>
                  <a:gd name="T12" fmla="*/ 2372 w 3007"/>
                  <a:gd name="T13" fmla="*/ 849 h 2085"/>
                  <a:gd name="T14" fmla="*/ 2551 w 3007"/>
                  <a:gd name="T15" fmla="*/ 920 h 2085"/>
                  <a:gd name="T16" fmla="*/ 2638 w 3007"/>
                  <a:gd name="T17" fmla="*/ 980 h 2085"/>
                  <a:gd name="T18" fmla="*/ 2676 w 3007"/>
                  <a:gd name="T19" fmla="*/ 1029 h 2085"/>
                  <a:gd name="T20" fmla="*/ 2681 w 3007"/>
                  <a:gd name="T21" fmla="*/ 1083 h 2085"/>
                  <a:gd name="T22" fmla="*/ 2665 w 3007"/>
                  <a:gd name="T23" fmla="*/ 1127 h 2085"/>
                  <a:gd name="T24" fmla="*/ 2616 w 3007"/>
                  <a:gd name="T25" fmla="*/ 1170 h 2085"/>
                  <a:gd name="T26" fmla="*/ 2545 w 3007"/>
                  <a:gd name="T27" fmla="*/ 1208 h 2085"/>
                  <a:gd name="T28" fmla="*/ 2448 w 3007"/>
                  <a:gd name="T29" fmla="*/ 1241 h 2085"/>
                  <a:gd name="T30" fmla="*/ 2328 w 3007"/>
                  <a:gd name="T31" fmla="*/ 1274 h 2085"/>
                  <a:gd name="T32" fmla="*/ 2106 w 3007"/>
                  <a:gd name="T33" fmla="*/ 1328 h 2085"/>
                  <a:gd name="T34" fmla="*/ 1742 w 3007"/>
                  <a:gd name="T35" fmla="*/ 1421 h 2085"/>
                  <a:gd name="T36" fmla="*/ 1308 w 3007"/>
                  <a:gd name="T37" fmla="*/ 1540 h 2085"/>
                  <a:gd name="T38" fmla="*/ 820 w 3007"/>
                  <a:gd name="T39" fmla="*/ 1709 h 2085"/>
                  <a:gd name="T40" fmla="*/ 282 w 3007"/>
                  <a:gd name="T41" fmla="*/ 1943 h 2085"/>
                  <a:gd name="T42" fmla="*/ 152 w 3007"/>
                  <a:gd name="T43" fmla="*/ 2085 h 2085"/>
                  <a:gd name="T44" fmla="*/ 386 w 3007"/>
                  <a:gd name="T45" fmla="*/ 1992 h 2085"/>
                  <a:gd name="T46" fmla="*/ 700 w 3007"/>
                  <a:gd name="T47" fmla="*/ 1834 h 2085"/>
                  <a:gd name="T48" fmla="*/ 1064 w 3007"/>
                  <a:gd name="T49" fmla="*/ 1693 h 2085"/>
                  <a:gd name="T50" fmla="*/ 1661 w 3007"/>
                  <a:gd name="T51" fmla="*/ 1497 h 2085"/>
                  <a:gd name="T52" fmla="*/ 1845 w 3007"/>
                  <a:gd name="T53" fmla="*/ 1442 h 2085"/>
                  <a:gd name="T54" fmla="*/ 2252 w 3007"/>
                  <a:gd name="T55" fmla="*/ 1339 h 2085"/>
                  <a:gd name="T56" fmla="*/ 2551 w 3007"/>
                  <a:gd name="T57" fmla="*/ 1263 h 2085"/>
                  <a:gd name="T58" fmla="*/ 2730 w 3007"/>
                  <a:gd name="T59" fmla="*/ 1214 h 2085"/>
                  <a:gd name="T60" fmla="*/ 2876 w 3007"/>
                  <a:gd name="T61" fmla="*/ 1170 h 2085"/>
                  <a:gd name="T62" fmla="*/ 2974 w 3007"/>
                  <a:gd name="T63" fmla="*/ 1132 h 2085"/>
                  <a:gd name="T64" fmla="*/ 3007 w 3007"/>
                  <a:gd name="T65" fmla="*/ 871 h 2085"/>
                  <a:gd name="T66" fmla="*/ 2860 w 3007"/>
                  <a:gd name="T67" fmla="*/ 844 h 2085"/>
                  <a:gd name="T68" fmla="*/ 2670 w 3007"/>
                  <a:gd name="T69" fmla="*/ 806 h 2085"/>
                  <a:gd name="T70" fmla="*/ 2458 w 3007"/>
                  <a:gd name="T71" fmla="*/ 757 h 2085"/>
                  <a:gd name="T72" fmla="*/ 2138 w 3007"/>
                  <a:gd name="T73" fmla="*/ 670 h 2085"/>
                  <a:gd name="T74" fmla="*/ 1959 w 3007"/>
                  <a:gd name="T75" fmla="*/ 604 h 2085"/>
                  <a:gd name="T76" fmla="*/ 1824 w 3007"/>
                  <a:gd name="T77" fmla="*/ 534 h 2085"/>
                  <a:gd name="T78" fmla="*/ 1769 w 3007"/>
                  <a:gd name="T79" fmla="*/ 474 h 2085"/>
                  <a:gd name="T80" fmla="*/ 1753 w 3007"/>
                  <a:gd name="T81" fmla="*/ 436 h 2085"/>
                  <a:gd name="T82" fmla="*/ 1780 w 3007"/>
                  <a:gd name="T83" fmla="*/ 381 h 2085"/>
                  <a:gd name="T84" fmla="*/ 1862 w 3007"/>
                  <a:gd name="T85" fmla="*/ 316 h 2085"/>
                  <a:gd name="T86" fmla="*/ 1986 w 3007"/>
                  <a:gd name="T87" fmla="*/ 267 h 2085"/>
                  <a:gd name="T88" fmla="*/ 2149 w 3007"/>
                  <a:gd name="T89" fmla="*/ 229 h 2085"/>
                  <a:gd name="T90" fmla="*/ 2431 w 3007"/>
                  <a:gd name="T91" fmla="*/ 180 h 2085"/>
                  <a:gd name="T92" fmla="*/ 2827 w 3007"/>
                  <a:gd name="T93" fmla="*/ 125 h 2085"/>
                  <a:gd name="T94" fmla="*/ 3007 w 3007"/>
                  <a:gd name="T95" fmla="*/ 87 h 2085"/>
                  <a:gd name="T96" fmla="*/ 2909 w 3007"/>
                  <a:gd name="T97" fmla="*/ 22 h 2085"/>
                  <a:gd name="T98" fmla="*/ 2676 w 3007"/>
                  <a:gd name="T99" fmla="*/ 66 h 2085"/>
                  <a:gd name="T100" fmla="*/ 2285 w 3007"/>
                  <a:gd name="T101" fmla="*/ 120 h 2085"/>
                  <a:gd name="T102" fmla="*/ 2030 w 3007"/>
                  <a:gd name="T103" fmla="*/ 158 h 2085"/>
                  <a:gd name="T104" fmla="*/ 1791 w 3007"/>
                  <a:gd name="T105" fmla="*/ 202 h 2085"/>
                  <a:gd name="T106" fmla="*/ 1601 w 3007"/>
                  <a:gd name="T107" fmla="*/ 261 h 2085"/>
                  <a:gd name="T108" fmla="*/ 1471 w 3007"/>
                  <a:gd name="T109" fmla="*/ 338 h 2085"/>
                  <a:gd name="T110" fmla="*/ 1438 w 3007"/>
                  <a:gd name="T111" fmla="*/ 387 h 2085"/>
                  <a:gd name="T112" fmla="*/ 1427 w 3007"/>
                  <a:gd name="T113" fmla="*/ 441 h 208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3007" h="2085">
                    <a:moveTo>
                      <a:pt x="1427" y="441"/>
                    </a:moveTo>
                    <a:lnTo>
                      <a:pt x="1433" y="474"/>
                    </a:lnTo>
                    <a:lnTo>
                      <a:pt x="1444" y="501"/>
                    </a:lnTo>
                    <a:lnTo>
                      <a:pt x="1460" y="528"/>
                    </a:lnTo>
                    <a:lnTo>
                      <a:pt x="1482" y="550"/>
                    </a:lnTo>
                    <a:lnTo>
                      <a:pt x="1541" y="593"/>
                    </a:lnTo>
                    <a:lnTo>
                      <a:pt x="1623" y="637"/>
                    </a:lnTo>
                    <a:lnTo>
                      <a:pt x="1715" y="670"/>
                    </a:lnTo>
                    <a:lnTo>
                      <a:pt x="1818" y="702"/>
                    </a:lnTo>
                    <a:lnTo>
                      <a:pt x="1927" y="735"/>
                    </a:lnTo>
                    <a:lnTo>
                      <a:pt x="2041" y="762"/>
                    </a:lnTo>
                    <a:lnTo>
                      <a:pt x="2155" y="789"/>
                    </a:lnTo>
                    <a:lnTo>
                      <a:pt x="2269" y="822"/>
                    </a:lnTo>
                    <a:lnTo>
                      <a:pt x="2372" y="849"/>
                    </a:lnTo>
                    <a:lnTo>
                      <a:pt x="2464" y="882"/>
                    </a:lnTo>
                    <a:lnTo>
                      <a:pt x="2551" y="920"/>
                    </a:lnTo>
                    <a:lnTo>
                      <a:pt x="2616" y="958"/>
                    </a:lnTo>
                    <a:lnTo>
                      <a:pt x="2638" y="980"/>
                    </a:lnTo>
                    <a:lnTo>
                      <a:pt x="2659" y="1007"/>
                    </a:lnTo>
                    <a:lnTo>
                      <a:pt x="2676" y="1029"/>
                    </a:lnTo>
                    <a:lnTo>
                      <a:pt x="2681" y="1056"/>
                    </a:lnTo>
                    <a:lnTo>
                      <a:pt x="2681" y="1083"/>
                    </a:lnTo>
                    <a:lnTo>
                      <a:pt x="2676" y="1105"/>
                    </a:lnTo>
                    <a:lnTo>
                      <a:pt x="2665" y="1127"/>
                    </a:lnTo>
                    <a:lnTo>
                      <a:pt x="2643" y="1149"/>
                    </a:lnTo>
                    <a:lnTo>
                      <a:pt x="2616" y="1170"/>
                    </a:lnTo>
                    <a:lnTo>
                      <a:pt x="2583" y="1187"/>
                    </a:lnTo>
                    <a:lnTo>
                      <a:pt x="2545" y="1208"/>
                    </a:lnTo>
                    <a:lnTo>
                      <a:pt x="2502" y="1225"/>
                    </a:lnTo>
                    <a:lnTo>
                      <a:pt x="2448" y="1241"/>
                    </a:lnTo>
                    <a:lnTo>
                      <a:pt x="2388" y="1257"/>
                    </a:lnTo>
                    <a:lnTo>
                      <a:pt x="2328" y="1274"/>
                    </a:lnTo>
                    <a:lnTo>
                      <a:pt x="2258" y="1290"/>
                    </a:lnTo>
                    <a:lnTo>
                      <a:pt x="2106" y="1328"/>
                    </a:lnTo>
                    <a:lnTo>
                      <a:pt x="1932" y="1372"/>
                    </a:lnTo>
                    <a:lnTo>
                      <a:pt x="1742" y="1421"/>
                    </a:lnTo>
                    <a:lnTo>
                      <a:pt x="1531" y="1475"/>
                    </a:lnTo>
                    <a:lnTo>
                      <a:pt x="1308" y="1540"/>
                    </a:lnTo>
                    <a:lnTo>
                      <a:pt x="1069" y="1617"/>
                    </a:lnTo>
                    <a:lnTo>
                      <a:pt x="820" y="1709"/>
                    </a:lnTo>
                    <a:lnTo>
                      <a:pt x="554" y="1818"/>
                    </a:lnTo>
                    <a:lnTo>
                      <a:pt x="282" y="1943"/>
                    </a:lnTo>
                    <a:lnTo>
                      <a:pt x="0" y="2085"/>
                    </a:lnTo>
                    <a:lnTo>
                      <a:pt x="152" y="2085"/>
                    </a:lnTo>
                    <a:lnTo>
                      <a:pt x="244" y="2074"/>
                    </a:lnTo>
                    <a:lnTo>
                      <a:pt x="386" y="1992"/>
                    </a:lnTo>
                    <a:lnTo>
                      <a:pt x="537" y="1910"/>
                    </a:lnTo>
                    <a:lnTo>
                      <a:pt x="700" y="1834"/>
                    </a:lnTo>
                    <a:lnTo>
                      <a:pt x="879" y="1763"/>
                    </a:lnTo>
                    <a:lnTo>
                      <a:pt x="1064" y="1693"/>
                    </a:lnTo>
                    <a:lnTo>
                      <a:pt x="1259" y="1622"/>
                    </a:lnTo>
                    <a:lnTo>
                      <a:pt x="1661" y="1497"/>
                    </a:lnTo>
                    <a:lnTo>
                      <a:pt x="1748" y="1470"/>
                    </a:lnTo>
                    <a:lnTo>
                      <a:pt x="1845" y="1442"/>
                    </a:lnTo>
                    <a:lnTo>
                      <a:pt x="2046" y="1393"/>
                    </a:lnTo>
                    <a:lnTo>
                      <a:pt x="2252" y="1339"/>
                    </a:lnTo>
                    <a:lnTo>
                      <a:pt x="2458" y="1285"/>
                    </a:lnTo>
                    <a:lnTo>
                      <a:pt x="2551" y="1263"/>
                    </a:lnTo>
                    <a:lnTo>
                      <a:pt x="2643" y="1236"/>
                    </a:lnTo>
                    <a:lnTo>
                      <a:pt x="2730" y="1214"/>
                    </a:lnTo>
                    <a:lnTo>
                      <a:pt x="2806" y="1192"/>
                    </a:lnTo>
                    <a:lnTo>
                      <a:pt x="2876" y="1170"/>
                    </a:lnTo>
                    <a:lnTo>
                      <a:pt x="2931" y="1149"/>
                    </a:lnTo>
                    <a:lnTo>
                      <a:pt x="2974" y="1132"/>
                    </a:lnTo>
                    <a:lnTo>
                      <a:pt x="3007" y="1116"/>
                    </a:lnTo>
                    <a:lnTo>
                      <a:pt x="3007" y="871"/>
                    </a:lnTo>
                    <a:lnTo>
                      <a:pt x="2941" y="860"/>
                    </a:lnTo>
                    <a:lnTo>
                      <a:pt x="2860" y="844"/>
                    </a:lnTo>
                    <a:lnTo>
                      <a:pt x="2773" y="827"/>
                    </a:lnTo>
                    <a:lnTo>
                      <a:pt x="2670" y="806"/>
                    </a:lnTo>
                    <a:lnTo>
                      <a:pt x="2567" y="784"/>
                    </a:lnTo>
                    <a:lnTo>
                      <a:pt x="2458" y="757"/>
                    </a:lnTo>
                    <a:lnTo>
                      <a:pt x="2241" y="702"/>
                    </a:lnTo>
                    <a:lnTo>
                      <a:pt x="2138" y="670"/>
                    </a:lnTo>
                    <a:lnTo>
                      <a:pt x="2046" y="637"/>
                    </a:lnTo>
                    <a:lnTo>
                      <a:pt x="1959" y="604"/>
                    </a:lnTo>
                    <a:lnTo>
                      <a:pt x="1883" y="566"/>
                    </a:lnTo>
                    <a:lnTo>
                      <a:pt x="1824" y="534"/>
                    </a:lnTo>
                    <a:lnTo>
                      <a:pt x="1780" y="495"/>
                    </a:lnTo>
                    <a:lnTo>
                      <a:pt x="1769" y="474"/>
                    </a:lnTo>
                    <a:lnTo>
                      <a:pt x="1758" y="457"/>
                    </a:lnTo>
                    <a:lnTo>
                      <a:pt x="1753" y="436"/>
                    </a:lnTo>
                    <a:lnTo>
                      <a:pt x="1758" y="419"/>
                    </a:lnTo>
                    <a:lnTo>
                      <a:pt x="1780" y="381"/>
                    </a:lnTo>
                    <a:lnTo>
                      <a:pt x="1813" y="343"/>
                    </a:lnTo>
                    <a:lnTo>
                      <a:pt x="1862" y="316"/>
                    </a:lnTo>
                    <a:lnTo>
                      <a:pt x="1921" y="289"/>
                    </a:lnTo>
                    <a:lnTo>
                      <a:pt x="1986" y="267"/>
                    </a:lnTo>
                    <a:lnTo>
                      <a:pt x="2062" y="245"/>
                    </a:lnTo>
                    <a:lnTo>
                      <a:pt x="2149" y="229"/>
                    </a:lnTo>
                    <a:lnTo>
                      <a:pt x="2236" y="213"/>
                    </a:lnTo>
                    <a:lnTo>
                      <a:pt x="2431" y="180"/>
                    </a:lnTo>
                    <a:lnTo>
                      <a:pt x="2627" y="158"/>
                    </a:lnTo>
                    <a:lnTo>
                      <a:pt x="2827" y="125"/>
                    </a:lnTo>
                    <a:lnTo>
                      <a:pt x="2920" y="109"/>
                    </a:lnTo>
                    <a:lnTo>
                      <a:pt x="3007" y="87"/>
                    </a:lnTo>
                    <a:lnTo>
                      <a:pt x="3007" y="0"/>
                    </a:lnTo>
                    <a:lnTo>
                      <a:pt x="2909" y="22"/>
                    </a:lnTo>
                    <a:lnTo>
                      <a:pt x="2795" y="44"/>
                    </a:lnTo>
                    <a:lnTo>
                      <a:pt x="2676" y="66"/>
                    </a:lnTo>
                    <a:lnTo>
                      <a:pt x="2551" y="82"/>
                    </a:lnTo>
                    <a:lnTo>
                      <a:pt x="2285" y="120"/>
                    </a:lnTo>
                    <a:lnTo>
                      <a:pt x="2155" y="136"/>
                    </a:lnTo>
                    <a:lnTo>
                      <a:pt x="2030" y="158"/>
                    </a:lnTo>
                    <a:lnTo>
                      <a:pt x="1905" y="174"/>
                    </a:lnTo>
                    <a:lnTo>
                      <a:pt x="1791" y="202"/>
                    </a:lnTo>
                    <a:lnTo>
                      <a:pt x="1688" y="229"/>
                    </a:lnTo>
                    <a:lnTo>
                      <a:pt x="1601" y="261"/>
                    </a:lnTo>
                    <a:lnTo>
                      <a:pt x="1525" y="300"/>
                    </a:lnTo>
                    <a:lnTo>
                      <a:pt x="1471" y="338"/>
                    </a:lnTo>
                    <a:lnTo>
                      <a:pt x="1455" y="359"/>
                    </a:lnTo>
                    <a:lnTo>
                      <a:pt x="1438" y="387"/>
                    </a:lnTo>
                    <a:lnTo>
                      <a:pt x="1427" y="414"/>
                    </a:lnTo>
                    <a:lnTo>
                      <a:pt x="1427" y="44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Freeform 8"/>
              <p:cNvSpPr>
                <a:spLocks/>
              </p:cNvSpPr>
              <p:nvPr/>
            </p:nvSpPr>
            <p:spPr bwMode="hidden">
              <a:xfrm>
                <a:off x="4501" y="2317"/>
                <a:ext cx="1248" cy="539"/>
              </a:xfrm>
              <a:custGeom>
                <a:avLst/>
                <a:gdLst>
                  <a:gd name="T0" fmla="*/ 0 w 1248"/>
                  <a:gd name="T1" fmla="*/ 332 h 539"/>
                  <a:gd name="T2" fmla="*/ 0 w 1248"/>
                  <a:gd name="T3" fmla="*/ 360 h 539"/>
                  <a:gd name="T4" fmla="*/ 5 w 1248"/>
                  <a:gd name="T5" fmla="*/ 387 h 539"/>
                  <a:gd name="T6" fmla="*/ 27 w 1248"/>
                  <a:gd name="T7" fmla="*/ 414 h 539"/>
                  <a:gd name="T8" fmla="*/ 54 w 1248"/>
                  <a:gd name="T9" fmla="*/ 436 h 539"/>
                  <a:gd name="T10" fmla="*/ 92 w 1248"/>
                  <a:gd name="T11" fmla="*/ 463 h 539"/>
                  <a:gd name="T12" fmla="*/ 141 w 1248"/>
                  <a:gd name="T13" fmla="*/ 490 h 539"/>
                  <a:gd name="T14" fmla="*/ 195 w 1248"/>
                  <a:gd name="T15" fmla="*/ 512 h 539"/>
                  <a:gd name="T16" fmla="*/ 255 w 1248"/>
                  <a:gd name="T17" fmla="*/ 539 h 539"/>
                  <a:gd name="T18" fmla="*/ 212 w 1248"/>
                  <a:gd name="T19" fmla="*/ 517 h 539"/>
                  <a:gd name="T20" fmla="*/ 179 w 1248"/>
                  <a:gd name="T21" fmla="*/ 490 h 539"/>
                  <a:gd name="T22" fmla="*/ 157 w 1248"/>
                  <a:gd name="T23" fmla="*/ 468 h 539"/>
                  <a:gd name="T24" fmla="*/ 141 w 1248"/>
                  <a:gd name="T25" fmla="*/ 447 h 539"/>
                  <a:gd name="T26" fmla="*/ 136 w 1248"/>
                  <a:gd name="T27" fmla="*/ 425 h 539"/>
                  <a:gd name="T28" fmla="*/ 136 w 1248"/>
                  <a:gd name="T29" fmla="*/ 403 h 539"/>
                  <a:gd name="T30" fmla="*/ 141 w 1248"/>
                  <a:gd name="T31" fmla="*/ 381 h 539"/>
                  <a:gd name="T32" fmla="*/ 157 w 1248"/>
                  <a:gd name="T33" fmla="*/ 365 h 539"/>
                  <a:gd name="T34" fmla="*/ 179 w 1248"/>
                  <a:gd name="T35" fmla="*/ 343 h 539"/>
                  <a:gd name="T36" fmla="*/ 201 w 1248"/>
                  <a:gd name="T37" fmla="*/ 327 h 539"/>
                  <a:gd name="T38" fmla="*/ 266 w 1248"/>
                  <a:gd name="T39" fmla="*/ 294 h 539"/>
                  <a:gd name="T40" fmla="*/ 353 w 1248"/>
                  <a:gd name="T41" fmla="*/ 262 h 539"/>
                  <a:gd name="T42" fmla="*/ 445 w 1248"/>
                  <a:gd name="T43" fmla="*/ 234 h 539"/>
                  <a:gd name="T44" fmla="*/ 554 w 1248"/>
                  <a:gd name="T45" fmla="*/ 213 h 539"/>
                  <a:gd name="T46" fmla="*/ 662 w 1248"/>
                  <a:gd name="T47" fmla="*/ 191 h 539"/>
                  <a:gd name="T48" fmla="*/ 890 w 1248"/>
                  <a:gd name="T49" fmla="*/ 153 h 539"/>
                  <a:gd name="T50" fmla="*/ 993 w 1248"/>
                  <a:gd name="T51" fmla="*/ 136 h 539"/>
                  <a:gd name="T52" fmla="*/ 1091 w 1248"/>
                  <a:gd name="T53" fmla="*/ 120 h 539"/>
                  <a:gd name="T54" fmla="*/ 1178 w 1248"/>
                  <a:gd name="T55" fmla="*/ 115 h 539"/>
                  <a:gd name="T56" fmla="*/ 1248 w 1248"/>
                  <a:gd name="T57" fmla="*/ 104 h 539"/>
                  <a:gd name="T58" fmla="*/ 1248 w 1248"/>
                  <a:gd name="T59" fmla="*/ 0 h 539"/>
                  <a:gd name="T60" fmla="*/ 1161 w 1248"/>
                  <a:gd name="T61" fmla="*/ 22 h 539"/>
                  <a:gd name="T62" fmla="*/ 1069 w 1248"/>
                  <a:gd name="T63" fmla="*/ 38 h 539"/>
                  <a:gd name="T64" fmla="*/ 874 w 1248"/>
                  <a:gd name="T65" fmla="*/ 71 h 539"/>
                  <a:gd name="T66" fmla="*/ 673 w 1248"/>
                  <a:gd name="T67" fmla="*/ 93 h 539"/>
                  <a:gd name="T68" fmla="*/ 483 w 1248"/>
                  <a:gd name="T69" fmla="*/ 126 h 539"/>
                  <a:gd name="T70" fmla="*/ 391 w 1248"/>
                  <a:gd name="T71" fmla="*/ 142 h 539"/>
                  <a:gd name="T72" fmla="*/ 309 w 1248"/>
                  <a:gd name="T73" fmla="*/ 158 h 539"/>
                  <a:gd name="T74" fmla="*/ 228 w 1248"/>
                  <a:gd name="T75" fmla="*/ 180 h 539"/>
                  <a:gd name="T76" fmla="*/ 163 w 1248"/>
                  <a:gd name="T77" fmla="*/ 202 h 539"/>
                  <a:gd name="T78" fmla="*/ 103 w 1248"/>
                  <a:gd name="T79" fmla="*/ 229 h 539"/>
                  <a:gd name="T80" fmla="*/ 54 w 1248"/>
                  <a:gd name="T81" fmla="*/ 256 h 539"/>
                  <a:gd name="T82" fmla="*/ 22 w 1248"/>
                  <a:gd name="T83" fmla="*/ 294 h 539"/>
                  <a:gd name="T84" fmla="*/ 0 w 1248"/>
                  <a:gd name="T85" fmla="*/ 332 h 539"/>
                  <a:gd name="T86" fmla="*/ 0 w 1248"/>
                  <a:gd name="T87" fmla="*/ 332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48" h="539">
                    <a:moveTo>
                      <a:pt x="0" y="332"/>
                    </a:moveTo>
                    <a:lnTo>
                      <a:pt x="0" y="360"/>
                    </a:lnTo>
                    <a:lnTo>
                      <a:pt x="5" y="387"/>
                    </a:lnTo>
                    <a:lnTo>
                      <a:pt x="27" y="414"/>
                    </a:lnTo>
                    <a:lnTo>
                      <a:pt x="54" y="436"/>
                    </a:lnTo>
                    <a:lnTo>
                      <a:pt x="92" y="463"/>
                    </a:lnTo>
                    <a:lnTo>
                      <a:pt x="141" y="490"/>
                    </a:lnTo>
                    <a:lnTo>
                      <a:pt x="195" y="512"/>
                    </a:lnTo>
                    <a:lnTo>
                      <a:pt x="255" y="539"/>
                    </a:lnTo>
                    <a:lnTo>
                      <a:pt x="212" y="517"/>
                    </a:lnTo>
                    <a:lnTo>
                      <a:pt x="179" y="490"/>
                    </a:lnTo>
                    <a:lnTo>
                      <a:pt x="157" y="468"/>
                    </a:lnTo>
                    <a:lnTo>
                      <a:pt x="141" y="447"/>
                    </a:lnTo>
                    <a:lnTo>
                      <a:pt x="136" y="425"/>
                    </a:lnTo>
                    <a:lnTo>
                      <a:pt x="136" y="403"/>
                    </a:lnTo>
                    <a:lnTo>
                      <a:pt x="141" y="381"/>
                    </a:lnTo>
                    <a:lnTo>
                      <a:pt x="157" y="365"/>
                    </a:lnTo>
                    <a:lnTo>
                      <a:pt x="179" y="343"/>
                    </a:lnTo>
                    <a:lnTo>
                      <a:pt x="201" y="327"/>
                    </a:lnTo>
                    <a:lnTo>
                      <a:pt x="266" y="294"/>
                    </a:lnTo>
                    <a:lnTo>
                      <a:pt x="353" y="262"/>
                    </a:lnTo>
                    <a:lnTo>
                      <a:pt x="445" y="234"/>
                    </a:lnTo>
                    <a:lnTo>
                      <a:pt x="554" y="213"/>
                    </a:lnTo>
                    <a:lnTo>
                      <a:pt x="662" y="191"/>
                    </a:lnTo>
                    <a:lnTo>
                      <a:pt x="890" y="153"/>
                    </a:lnTo>
                    <a:lnTo>
                      <a:pt x="993" y="136"/>
                    </a:lnTo>
                    <a:lnTo>
                      <a:pt x="1091" y="120"/>
                    </a:lnTo>
                    <a:lnTo>
                      <a:pt x="1178" y="115"/>
                    </a:lnTo>
                    <a:lnTo>
                      <a:pt x="1248" y="104"/>
                    </a:lnTo>
                    <a:lnTo>
                      <a:pt x="1248" y="0"/>
                    </a:lnTo>
                    <a:lnTo>
                      <a:pt x="1161" y="22"/>
                    </a:lnTo>
                    <a:lnTo>
                      <a:pt x="1069" y="38"/>
                    </a:lnTo>
                    <a:lnTo>
                      <a:pt x="874" y="71"/>
                    </a:lnTo>
                    <a:lnTo>
                      <a:pt x="673" y="93"/>
                    </a:lnTo>
                    <a:lnTo>
                      <a:pt x="483" y="126"/>
                    </a:lnTo>
                    <a:lnTo>
                      <a:pt x="391" y="142"/>
                    </a:lnTo>
                    <a:lnTo>
                      <a:pt x="309" y="158"/>
                    </a:lnTo>
                    <a:lnTo>
                      <a:pt x="228" y="180"/>
                    </a:lnTo>
                    <a:lnTo>
                      <a:pt x="163" y="202"/>
                    </a:lnTo>
                    <a:lnTo>
                      <a:pt x="103" y="229"/>
                    </a:lnTo>
                    <a:lnTo>
                      <a:pt x="54" y="256"/>
                    </a:lnTo>
                    <a:lnTo>
                      <a:pt x="22" y="294"/>
                    </a:lnTo>
                    <a:lnTo>
                      <a:pt x="0" y="332"/>
                    </a:lnTo>
                    <a:lnTo>
                      <a:pt x="0" y="33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7843"/>
                      <a:invGamma/>
                    </a:schemeClr>
                  </a:gs>
                  <a:gs pos="100000">
                    <a:schemeClr val="bg1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" name="Freeform 9"/>
            <p:cNvSpPr>
              <a:spLocks/>
            </p:cNvSpPr>
            <p:nvPr/>
          </p:nvSpPr>
          <p:spPr bwMode="hidden">
            <a:xfrm>
              <a:off x="3322" y="1341"/>
              <a:ext cx="1825" cy="1537"/>
            </a:xfrm>
            <a:custGeom>
              <a:avLst/>
              <a:gdLst>
                <a:gd name="T0" fmla="*/ 982 w 2296"/>
                <a:gd name="T1" fmla="*/ 1061 h 1469"/>
                <a:gd name="T2" fmla="*/ 1357 w 2296"/>
                <a:gd name="T3" fmla="*/ 1012 h 1469"/>
                <a:gd name="T4" fmla="*/ 1666 w 2296"/>
                <a:gd name="T5" fmla="*/ 957 h 1469"/>
                <a:gd name="T6" fmla="*/ 1916 w 2296"/>
                <a:gd name="T7" fmla="*/ 897 h 1469"/>
                <a:gd name="T8" fmla="*/ 2100 w 2296"/>
                <a:gd name="T9" fmla="*/ 832 h 1469"/>
                <a:gd name="T10" fmla="*/ 2220 w 2296"/>
                <a:gd name="T11" fmla="*/ 756 h 1469"/>
                <a:gd name="T12" fmla="*/ 2285 w 2296"/>
                <a:gd name="T13" fmla="*/ 669 h 1469"/>
                <a:gd name="T14" fmla="*/ 2290 w 2296"/>
                <a:gd name="T15" fmla="*/ 560 h 1469"/>
                <a:gd name="T16" fmla="*/ 2241 w 2296"/>
                <a:gd name="T17" fmla="*/ 457 h 1469"/>
                <a:gd name="T18" fmla="*/ 2144 w 2296"/>
                <a:gd name="T19" fmla="*/ 364 h 1469"/>
                <a:gd name="T20" fmla="*/ 2008 w 2296"/>
                <a:gd name="T21" fmla="*/ 277 h 1469"/>
                <a:gd name="T22" fmla="*/ 1769 w 2296"/>
                <a:gd name="T23" fmla="*/ 157 h 1469"/>
                <a:gd name="T24" fmla="*/ 1612 w 2296"/>
                <a:gd name="T25" fmla="*/ 92 h 1469"/>
                <a:gd name="T26" fmla="*/ 1476 w 2296"/>
                <a:gd name="T27" fmla="*/ 43 h 1469"/>
                <a:gd name="T28" fmla="*/ 1384 w 2296"/>
                <a:gd name="T29" fmla="*/ 10 h 1469"/>
                <a:gd name="T30" fmla="*/ 1346 w 2296"/>
                <a:gd name="T31" fmla="*/ 0 h 1469"/>
                <a:gd name="T32" fmla="*/ 1655 w 2296"/>
                <a:gd name="T33" fmla="*/ 119 h 1469"/>
                <a:gd name="T34" fmla="*/ 1948 w 2296"/>
                <a:gd name="T35" fmla="*/ 255 h 1469"/>
                <a:gd name="T36" fmla="*/ 2068 w 2296"/>
                <a:gd name="T37" fmla="*/ 326 h 1469"/>
                <a:gd name="T38" fmla="*/ 2171 w 2296"/>
                <a:gd name="T39" fmla="*/ 402 h 1469"/>
                <a:gd name="T40" fmla="*/ 2236 w 2296"/>
                <a:gd name="T41" fmla="*/ 478 h 1469"/>
                <a:gd name="T42" fmla="*/ 2263 w 2296"/>
                <a:gd name="T43" fmla="*/ 560 h 1469"/>
                <a:gd name="T44" fmla="*/ 2241 w 2296"/>
                <a:gd name="T45" fmla="*/ 636 h 1469"/>
                <a:gd name="T46" fmla="*/ 2171 w 2296"/>
                <a:gd name="T47" fmla="*/ 702 h 1469"/>
                <a:gd name="T48" fmla="*/ 2062 w 2296"/>
                <a:gd name="T49" fmla="*/ 756 h 1469"/>
                <a:gd name="T50" fmla="*/ 1921 w 2296"/>
                <a:gd name="T51" fmla="*/ 800 h 1469"/>
                <a:gd name="T52" fmla="*/ 1748 w 2296"/>
                <a:gd name="T53" fmla="*/ 843 h 1469"/>
                <a:gd name="T54" fmla="*/ 1351 w 2296"/>
                <a:gd name="T55" fmla="*/ 908 h 1469"/>
                <a:gd name="T56" fmla="*/ 923 w 2296"/>
                <a:gd name="T57" fmla="*/ 968 h 1469"/>
                <a:gd name="T58" fmla="*/ 521 w 2296"/>
                <a:gd name="T59" fmla="*/ 1028 h 1469"/>
                <a:gd name="T60" fmla="*/ 353 w 2296"/>
                <a:gd name="T61" fmla="*/ 1066 h 1469"/>
                <a:gd name="T62" fmla="*/ 206 w 2296"/>
                <a:gd name="T63" fmla="*/ 1104 h 1469"/>
                <a:gd name="T64" fmla="*/ 92 w 2296"/>
                <a:gd name="T65" fmla="*/ 1148 h 1469"/>
                <a:gd name="T66" fmla="*/ 22 w 2296"/>
                <a:gd name="T67" fmla="*/ 1202 h 1469"/>
                <a:gd name="T68" fmla="*/ 0 w 2296"/>
                <a:gd name="T69" fmla="*/ 1262 h 1469"/>
                <a:gd name="T70" fmla="*/ 27 w 2296"/>
                <a:gd name="T71" fmla="*/ 1327 h 1469"/>
                <a:gd name="T72" fmla="*/ 98 w 2296"/>
                <a:gd name="T73" fmla="*/ 1382 h 1469"/>
                <a:gd name="T74" fmla="*/ 196 w 2296"/>
                <a:gd name="T75" fmla="*/ 1425 h 1469"/>
                <a:gd name="T76" fmla="*/ 326 w 2296"/>
                <a:gd name="T77" fmla="*/ 1469 h 1469"/>
                <a:gd name="T78" fmla="*/ 217 w 2296"/>
                <a:gd name="T79" fmla="*/ 1414 h 1469"/>
                <a:gd name="T80" fmla="*/ 147 w 2296"/>
                <a:gd name="T81" fmla="*/ 1360 h 1469"/>
                <a:gd name="T82" fmla="*/ 120 w 2296"/>
                <a:gd name="T83" fmla="*/ 1306 h 1469"/>
                <a:gd name="T84" fmla="*/ 141 w 2296"/>
                <a:gd name="T85" fmla="*/ 1257 h 1469"/>
                <a:gd name="T86" fmla="*/ 212 w 2296"/>
                <a:gd name="T87" fmla="*/ 1208 h 1469"/>
                <a:gd name="T88" fmla="*/ 342 w 2296"/>
                <a:gd name="T89" fmla="*/ 1164 h 1469"/>
                <a:gd name="T90" fmla="*/ 527 w 2296"/>
                <a:gd name="T91" fmla="*/ 1121 h 1469"/>
                <a:gd name="T92" fmla="*/ 771 w 2296"/>
                <a:gd name="T93" fmla="*/ 108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96" h="1469">
                  <a:moveTo>
                    <a:pt x="771" y="1088"/>
                  </a:moveTo>
                  <a:lnTo>
                    <a:pt x="982" y="1061"/>
                  </a:lnTo>
                  <a:lnTo>
                    <a:pt x="1178" y="1034"/>
                  </a:lnTo>
                  <a:lnTo>
                    <a:pt x="1357" y="1012"/>
                  </a:lnTo>
                  <a:lnTo>
                    <a:pt x="1520" y="985"/>
                  </a:lnTo>
                  <a:lnTo>
                    <a:pt x="1666" y="957"/>
                  </a:lnTo>
                  <a:lnTo>
                    <a:pt x="1796" y="930"/>
                  </a:lnTo>
                  <a:lnTo>
                    <a:pt x="1916" y="897"/>
                  </a:lnTo>
                  <a:lnTo>
                    <a:pt x="2013" y="870"/>
                  </a:lnTo>
                  <a:lnTo>
                    <a:pt x="2100" y="832"/>
                  </a:lnTo>
                  <a:lnTo>
                    <a:pt x="2171" y="800"/>
                  </a:lnTo>
                  <a:lnTo>
                    <a:pt x="2220" y="756"/>
                  </a:lnTo>
                  <a:lnTo>
                    <a:pt x="2263" y="712"/>
                  </a:lnTo>
                  <a:lnTo>
                    <a:pt x="2285" y="669"/>
                  </a:lnTo>
                  <a:lnTo>
                    <a:pt x="2296" y="614"/>
                  </a:lnTo>
                  <a:lnTo>
                    <a:pt x="2290" y="560"/>
                  </a:lnTo>
                  <a:lnTo>
                    <a:pt x="2269" y="500"/>
                  </a:lnTo>
                  <a:lnTo>
                    <a:pt x="2241" y="457"/>
                  </a:lnTo>
                  <a:lnTo>
                    <a:pt x="2198" y="408"/>
                  </a:lnTo>
                  <a:lnTo>
                    <a:pt x="2144" y="364"/>
                  </a:lnTo>
                  <a:lnTo>
                    <a:pt x="2079" y="321"/>
                  </a:lnTo>
                  <a:lnTo>
                    <a:pt x="2008" y="277"/>
                  </a:lnTo>
                  <a:lnTo>
                    <a:pt x="1927" y="234"/>
                  </a:lnTo>
                  <a:lnTo>
                    <a:pt x="1769" y="157"/>
                  </a:lnTo>
                  <a:lnTo>
                    <a:pt x="1688" y="125"/>
                  </a:lnTo>
                  <a:lnTo>
                    <a:pt x="1612" y="92"/>
                  </a:lnTo>
                  <a:lnTo>
                    <a:pt x="1536" y="65"/>
                  </a:lnTo>
                  <a:lnTo>
                    <a:pt x="1476" y="43"/>
                  </a:lnTo>
                  <a:lnTo>
                    <a:pt x="1422" y="27"/>
                  </a:lnTo>
                  <a:lnTo>
                    <a:pt x="1384" y="10"/>
                  </a:lnTo>
                  <a:lnTo>
                    <a:pt x="1357" y="5"/>
                  </a:lnTo>
                  <a:lnTo>
                    <a:pt x="1346" y="0"/>
                  </a:lnTo>
                  <a:lnTo>
                    <a:pt x="1498" y="54"/>
                  </a:lnTo>
                  <a:lnTo>
                    <a:pt x="1655" y="119"/>
                  </a:lnTo>
                  <a:lnTo>
                    <a:pt x="1807" y="185"/>
                  </a:lnTo>
                  <a:lnTo>
                    <a:pt x="1948" y="255"/>
                  </a:lnTo>
                  <a:lnTo>
                    <a:pt x="2013" y="288"/>
                  </a:lnTo>
                  <a:lnTo>
                    <a:pt x="2068" y="326"/>
                  </a:lnTo>
                  <a:lnTo>
                    <a:pt x="2122" y="364"/>
                  </a:lnTo>
                  <a:lnTo>
                    <a:pt x="2171" y="402"/>
                  </a:lnTo>
                  <a:lnTo>
                    <a:pt x="2209" y="440"/>
                  </a:lnTo>
                  <a:lnTo>
                    <a:pt x="2236" y="478"/>
                  </a:lnTo>
                  <a:lnTo>
                    <a:pt x="2252" y="522"/>
                  </a:lnTo>
                  <a:lnTo>
                    <a:pt x="2263" y="560"/>
                  </a:lnTo>
                  <a:lnTo>
                    <a:pt x="2258" y="598"/>
                  </a:lnTo>
                  <a:lnTo>
                    <a:pt x="2241" y="636"/>
                  </a:lnTo>
                  <a:lnTo>
                    <a:pt x="2214" y="669"/>
                  </a:lnTo>
                  <a:lnTo>
                    <a:pt x="2171" y="702"/>
                  </a:lnTo>
                  <a:lnTo>
                    <a:pt x="2122" y="729"/>
                  </a:lnTo>
                  <a:lnTo>
                    <a:pt x="2062" y="756"/>
                  </a:lnTo>
                  <a:lnTo>
                    <a:pt x="1997" y="778"/>
                  </a:lnTo>
                  <a:lnTo>
                    <a:pt x="1921" y="800"/>
                  </a:lnTo>
                  <a:lnTo>
                    <a:pt x="1834" y="821"/>
                  </a:lnTo>
                  <a:lnTo>
                    <a:pt x="1748" y="843"/>
                  </a:lnTo>
                  <a:lnTo>
                    <a:pt x="1552" y="876"/>
                  </a:lnTo>
                  <a:lnTo>
                    <a:pt x="1351" y="908"/>
                  </a:lnTo>
                  <a:lnTo>
                    <a:pt x="1134" y="941"/>
                  </a:lnTo>
                  <a:lnTo>
                    <a:pt x="923" y="968"/>
                  </a:lnTo>
                  <a:lnTo>
                    <a:pt x="716" y="995"/>
                  </a:lnTo>
                  <a:lnTo>
                    <a:pt x="521" y="1028"/>
                  </a:lnTo>
                  <a:lnTo>
                    <a:pt x="434" y="1044"/>
                  </a:lnTo>
                  <a:lnTo>
                    <a:pt x="353" y="1066"/>
                  </a:lnTo>
                  <a:lnTo>
                    <a:pt x="277" y="1082"/>
                  </a:lnTo>
                  <a:lnTo>
                    <a:pt x="206" y="1104"/>
                  </a:lnTo>
                  <a:lnTo>
                    <a:pt x="147" y="1126"/>
                  </a:lnTo>
                  <a:lnTo>
                    <a:pt x="92" y="1148"/>
                  </a:lnTo>
                  <a:lnTo>
                    <a:pt x="54" y="1175"/>
                  </a:lnTo>
                  <a:lnTo>
                    <a:pt x="22" y="1202"/>
                  </a:lnTo>
                  <a:lnTo>
                    <a:pt x="6" y="1229"/>
                  </a:lnTo>
                  <a:lnTo>
                    <a:pt x="0" y="1262"/>
                  </a:lnTo>
                  <a:lnTo>
                    <a:pt x="11" y="1295"/>
                  </a:lnTo>
                  <a:lnTo>
                    <a:pt x="27" y="1327"/>
                  </a:lnTo>
                  <a:lnTo>
                    <a:pt x="54" y="1355"/>
                  </a:lnTo>
                  <a:lnTo>
                    <a:pt x="98" y="1382"/>
                  </a:lnTo>
                  <a:lnTo>
                    <a:pt x="141" y="1404"/>
                  </a:lnTo>
                  <a:lnTo>
                    <a:pt x="196" y="1425"/>
                  </a:lnTo>
                  <a:lnTo>
                    <a:pt x="261" y="1447"/>
                  </a:lnTo>
                  <a:lnTo>
                    <a:pt x="326" y="1469"/>
                  </a:lnTo>
                  <a:lnTo>
                    <a:pt x="266" y="1442"/>
                  </a:lnTo>
                  <a:lnTo>
                    <a:pt x="217" y="1414"/>
                  </a:lnTo>
                  <a:lnTo>
                    <a:pt x="174" y="1387"/>
                  </a:lnTo>
                  <a:lnTo>
                    <a:pt x="147" y="1360"/>
                  </a:lnTo>
                  <a:lnTo>
                    <a:pt x="125" y="1333"/>
                  </a:lnTo>
                  <a:lnTo>
                    <a:pt x="120" y="1306"/>
                  </a:lnTo>
                  <a:lnTo>
                    <a:pt x="125" y="1278"/>
                  </a:lnTo>
                  <a:lnTo>
                    <a:pt x="141" y="1257"/>
                  </a:lnTo>
                  <a:lnTo>
                    <a:pt x="174" y="1229"/>
                  </a:lnTo>
                  <a:lnTo>
                    <a:pt x="212" y="1208"/>
                  </a:lnTo>
                  <a:lnTo>
                    <a:pt x="272" y="1186"/>
                  </a:lnTo>
                  <a:lnTo>
                    <a:pt x="342" y="1164"/>
                  </a:lnTo>
                  <a:lnTo>
                    <a:pt x="423" y="1142"/>
                  </a:lnTo>
                  <a:lnTo>
                    <a:pt x="527" y="1121"/>
                  </a:lnTo>
                  <a:lnTo>
                    <a:pt x="641" y="1104"/>
                  </a:lnTo>
                  <a:lnTo>
                    <a:pt x="771" y="1088"/>
                  </a:lnTo>
                  <a:lnTo>
                    <a:pt x="771" y="108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hidden">
            <a:xfrm>
              <a:off x="0" y="0"/>
              <a:ext cx="5758" cy="1776"/>
            </a:xfrm>
            <a:custGeom>
              <a:avLst/>
              <a:gdLst>
                <a:gd name="T0" fmla="*/ 0 w 5740"/>
                <a:gd name="T1" fmla="*/ 0 h 1906"/>
                <a:gd name="T2" fmla="*/ 0 w 5740"/>
                <a:gd name="T3" fmla="*/ 1542 h 1906"/>
                <a:gd name="T4" fmla="*/ 5794 w 5740"/>
                <a:gd name="T5" fmla="*/ 1542 h 1906"/>
                <a:gd name="T6" fmla="*/ 5794 w 5740"/>
                <a:gd name="T7" fmla="*/ 0 h 1906"/>
                <a:gd name="T8" fmla="*/ 0 w 5740"/>
                <a:gd name="T9" fmla="*/ 0 h 1906"/>
                <a:gd name="T10" fmla="*/ 0 w 5740"/>
                <a:gd name="T11" fmla="*/ 0 h 190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740" h="1906">
                  <a:moveTo>
                    <a:pt x="0" y="0"/>
                  </a:moveTo>
                  <a:lnTo>
                    <a:pt x="0" y="1906"/>
                  </a:lnTo>
                  <a:lnTo>
                    <a:pt x="5740" y="1906"/>
                  </a:lnTo>
                  <a:lnTo>
                    <a:pt x="574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8203" name="Rectangle 11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1736725"/>
            <a:ext cx="7772400" cy="1920875"/>
          </a:xfrm>
        </p:spPr>
        <p:txBody>
          <a:bodyPr/>
          <a:lstStyle>
            <a:lvl1pPr>
              <a:defRPr sz="60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8204" name="Rectangle 1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13" name="Rectangle 13"/>
          <p:cNvSpPr>
            <a:spLocks noGrp="1" noChangeArrowheads="1"/>
          </p:cNvSpPr>
          <p:nvPr>
            <p:ph type="dt" sz="quarter" idx="10"/>
          </p:nvPr>
        </p:nvSpPr>
        <p:spPr>
          <a:xfrm>
            <a:off x="457200" y="624840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5157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Rectangle 1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547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C77F9B-4FAE-469B-9C6A-62D1FD9054AE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864031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2E14C1-EB9B-4C51-881C-F73FAB6A513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17059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6158B4-416A-4848-B825-B9E2501CDBD8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356130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3E1E5D-C777-4DCF-9728-03FC4136F07E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474288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8470C2-2FED-4ED1-B2DC-735BF3635A6E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511201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BB011-457E-4A2E-B77A-AA2F195A663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4612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3884305"/>
      </p:ext>
    </p:extLst>
  </p:cSld>
  <p:clrMapOvr>
    <a:masterClrMapping/>
  </p:clrMapOvr>
  <p:transition/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529239-F2F0-4810-823A-E774CCC6652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56835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14B9EA-FC32-4206-B0B0-83B3C2AECA9A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968210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DE939A-0412-473D-990C-1DD45D7B3719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129598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F9FA4D-6447-4B95-AB5C-D4358BDD40F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17102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853E99-5BB7-4473-86F3-68ACF9A371E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729099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48FB30-B1D0-47DA-A946-A771081147BF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394810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04875" y="3648075"/>
            <a:ext cx="7315200" cy="1279525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14400" y="5048250"/>
            <a:ext cx="7315200" cy="685800"/>
          </a:xfrm>
          <a:prstGeom prst="rect">
            <a:avLst/>
          </a:prstGeom>
          <a:noFill/>
          <a:ln w="6350" cap="rnd" cmpd="sng" algn="ctr">
            <a:solidFill>
              <a:schemeClr val="accent2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04875" y="3648075"/>
            <a:ext cx="228600" cy="1279525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14400" y="5048250"/>
            <a:ext cx="228600" cy="685800"/>
          </a:xfrm>
          <a:prstGeom prst="rect">
            <a:avLst/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1219200" y="3886200"/>
            <a:ext cx="6858000" cy="990600"/>
          </a:xfrm>
        </p:spPr>
        <p:txBody>
          <a:bodyPr anchor="t"/>
          <a:lstStyle>
            <a:lvl1pPr algn="r"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219200" y="5124450"/>
            <a:ext cx="6858000" cy="5334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10" name="Дата 27"/>
          <p:cNvSpPr>
            <a:spLocks noGrp="1"/>
          </p:cNvSpPr>
          <p:nvPr>
            <p:ph type="dt" sz="half" idx="10"/>
          </p:nvPr>
        </p:nvSpPr>
        <p:spPr>
          <a:xfrm>
            <a:off x="6400800" y="6354763"/>
            <a:ext cx="2286000" cy="366712"/>
          </a:xfr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11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2898775" y="6354763"/>
            <a:ext cx="3475038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12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1216025" y="6354763"/>
            <a:ext cx="1219200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714711-E740-4650-AFCF-FC341F111A10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151673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3AD529-921D-4789-9A47-170726AD2E69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488957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14400" y="2819400"/>
            <a:ext cx="7315200" cy="1279525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14400" y="2819400"/>
            <a:ext cx="228600" cy="1279525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971800"/>
            <a:ext cx="6858000" cy="1066800"/>
          </a:xfrm>
        </p:spPr>
        <p:txBody>
          <a:bodyPr anchor="t"/>
          <a:lstStyle>
            <a:lvl1pPr algn="r">
              <a:buNone/>
              <a:defRPr sz="3200" b="0" cap="none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95400" y="4267200"/>
            <a:ext cx="6781800" cy="11430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6400800" y="6354763"/>
            <a:ext cx="2286000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DDE9EC"/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898775" y="6354763"/>
            <a:ext cx="3475038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DDE9EC"/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69975" y="6354763"/>
            <a:ext cx="1520825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AB5654-A92F-4D93-B5DD-BF7E521270F2}" type="slidenum">
              <a:rPr lang="ru-RU">
                <a:solidFill>
                  <a:srgbClr val="DDE9EC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DDE9E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345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4041648" cy="49377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632198" y="1216152"/>
            <a:ext cx="4041648" cy="49377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5DC93-B1D8-47CA-9214-86418732C34A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4026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0BFD82-B06A-4592-8E38-9E2FA07EBEE6}" type="datetimeFigureOut">
              <a:rPr lang="ru-RU" altLang="en-US">
                <a:solidFill>
                  <a:srgbClr val="000000"/>
                </a:solidFill>
              </a:rPr>
              <a:pPr>
                <a:defRPr/>
              </a:pPr>
              <a:t>15.10.2021</a:t>
            </a:fld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914400" y="6629400"/>
            <a:ext cx="57150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AEFD81-91A1-4D5A-882F-42F531FFB961}" type="slidenum">
              <a:rPr lang="ru-RU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895545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85875"/>
            <a:ext cx="4040188" cy="685800"/>
          </a:xfrm>
          <a:noFill/>
          <a:ln>
            <a:noFill/>
          </a:ln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8200" y="1295400"/>
            <a:ext cx="4041775" cy="685800"/>
          </a:xfrm>
          <a:noFill/>
          <a:ln>
            <a:noFill/>
          </a:ln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57200" y="2133600"/>
            <a:ext cx="4038600" cy="4038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648200" y="2133600"/>
            <a:ext cx="4038600" cy="4038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8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9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F3BD73-CE87-4E28-8748-C6A4CBDC7AE5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83157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авнобедренный треугольник 2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F0EB12-94D7-4C29-8CBB-0B8258092F62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451463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ая соединительная линия 1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" name="Равнобедренный треугольник 2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A8B48B-83AE-45E9-93E1-C58C95FC0F9B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052317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ая соединительная линия 4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Прямая соединительная линия 5"/>
          <p:cNvSpPr>
            <a:spLocks noChangeShapeType="1"/>
          </p:cNvSpPr>
          <p:nvPr/>
        </p:nvSpPr>
        <p:spPr bwMode="auto">
          <a:xfrm rot="5400000">
            <a:off x="3160712" y="3324226"/>
            <a:ext cx="6035675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" name="Равнобедренный треугольник 6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24600" y="304800"/>
            <a:ext cx="2514600" cy="838200"/>
          </a:xfrm>
        </p:spPr>
        <p:txBody>
          <a:bodyPr>
            <a:noAutofit/>
          </a:bodyPr>
          <a:lstStyle>
            <a:lvl1pPr algn="l">
              <a:buNone/>
              <a:defRPr sz="20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324600" y="1219200"/>
            <a:ext cx="2514600" cy="4843463"/>
          </a:xfrm>
        </p:spPr>
        <p:txBody>
          <a:bodyPr/>
          <a:lstStyle>
            <a:lvl1pPr marL="0" indent="0">
              <a:lnSpc>
                <a:spcPts val="22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Содержимое 11"/>
          <p:cNvSpPr>
            <a:spLocks noGrp="1"/>
          </p:cNvSpPr>
          <p:nvPr>
            <p:ph sz="quarter" idx="1"/>
          </p:nvPr>
        </p:nvSpPr>
        <p:spPr>
          <a:xfrm>
            <a:off x="304800" y="304800"/>
            <a:ext cx="5715000" cy="5715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B2AC23-7C84-4337-9E72-B4BAAD1B3EE9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483625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ая соединительная линия 4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6" name="Равнобедренный треугольник 5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57200" y="500063"/>
            <a:ext cx="182563" cy="68580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00856"/>
            <a:ext cx="8229600" cy="674688"/>
          </a:xfrm>
          <a:ln>
            <a:solidFill>
              <a:schemeClr val="accent1"/>
            </a:solidFill>
          </a:ln>
        </p:spPr>
        <p:txBody>
          <a:bodyPr lIns="274320" anchor="ctr"/>
          <a:lstStyle>
            <a:lvl1pPr algn="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7200" y="1905000"/>
            <a:ext cx="8229600" cy="4270248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219200"/>
            <a:ext cx="8229600" cy="533400"/>
          </a:xfrm>
        </p:spPr>
        <p:txBody>
          <a:bodyPr anchor="ctr"/>
          <a:lstStyle>
            <a:lvl1pPr marL="0" indent="0" algn="l">
              <a:buFontTx/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DDE9EC"/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DDE9EC"/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4937F-0AC0-4FC7-8454-AB1C0CF60E72}" type="slidenum">
              <a:rPr lang="ru-RU">
                <a:solidFill>
                  <a:srgbClr val="DDE9EC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DDE9E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54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4D725-6ABC-49E8-81CC-1A5970134B9A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14974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Равнобедренный треугольник 4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ая соединительная линия 5"/>
          <p:cNvSpPr>
            <a:spLocks noChangeShapeType="1"/>
          </p:cNvSpPr>
          <p:nvPr/>
        </p:nvSpPr>
        <p:spPr bwMode="auto">
          <a:xfrm rot="5400000">
            <a:off x="3630612" y="3201988"/>
            <a:ext cx="5851525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B97D8-E695-426D-A75C-CE43D4BAB19A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48411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0013" y="301625"/>
            <a:ext cx="7313612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370013" y="1827213"/>
            <a:ext cx="3579812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02225" y="1827213"/>
            <a:ext cx="35814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409940-89C5-43C3-9AF5-A3542B54E713}" type="datetimeFigureOut">
              <a:rPr lang="ru-RU">
                <a:solidFill>
                  <a:srgbClr val="464653"/>
                </a:solidFill>
              </a:rPr>
              <a:pPr>
                <a:defRPr/>
              </a:pPr>
              <a:t>15.10.2021</a:t>
            </a:fld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DDB2C5-AEB5-4FC0-B9DF-78EB67601915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363139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4400" smtClean="0">
              <a:solidFill>
                <a:srgbClr val="464653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ru-RU" altLang="ru-RU" sz="3200" smtClean="0">
              <a:solidFill>
                <a:prstClr val="black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660694"/>
      </p:ext>
    </p:extLst>
  </p:cSld>
  <p:clrMapOvr>
    <a:masterClrMapping/>
  </p:clrMapOvr>
  <p:transition spd="slow"/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9102572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9068378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04875" y="3648075"/>
            <a:ext cx="7315200" cy="1279525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14400" y="5048250"/>
            <a:ext cx="7315200" cy="685800"/>
          </a:xfrm>
          <a:prstGeom prst="rect">
            <a:avLst/>
          </a:prstGeom>
          <a:noFill/>
          <a:ln w="6350" cap="rnd" cmpd="sng" algn="ctr">
            <a:solidFill>
              <a:schemeClr val="accent2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04875" y="3648075"/>
            <a:ext cx="228600" cy="1279525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14400" y="5048250"/>
            <a:ext cx="228600" cy="685800"/>
          </a:xfrm>
          <a:prstGeom prst="rect">
            <a:avLst/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1219200" y="3886200"/>
            <a:ext cx="6858000" cy="990600"/>
          </a:xfrm>
        </p:spPr>
        <p:txBody>
          <a:bodyPr anchor="t"/>
          <a:lstStyle>
            <a:lvl1pPr algn="r"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219200" y="5124450"/>
            <a:ext cx="6858000" cy="5334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10" name="Дата 27"/>
          <p:cNvSpPr>
            <a:spLocks noGrp="1"/>
          </p:cNvSpPr>
          <p:nvPr>
            <p:ph type="dt" sz="half" idx="10"/>
          </p:nvPr>
        </p:nvSpPr>
        <p:spPr>
          <a:xfrm>
            <a:off x="6400800" y="6354763"/>
            <a:ext cx="2286000" cy="366712"/>
          </a:xfrm>
        </p:spPr>
        <p:txBody>
          <a:bodyPr/>
          <a:lstStyle>
            <a:lvl1pPr>
              <a:defRPr sz="1400"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11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2898775" y="6354763"/>
            <a:ext cx="3475038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12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1216025" y="6354763"/>
            <a:ext cx="1219200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714711-E740-4650-AFCF-FC341F111A10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761369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3AD529-921D-4789-9A47-170726AD2E69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127541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14400" y="2819400"/>
            <a:ext cx="7315200" cy="1279525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14400" y="2819400"/>
            <a:ext cx="228600" cy="1279525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971800"/>
            <a:ext cx="6858000" cy="1066800"/>
          </a:xfrm>
        </p:spPr>
        <p:txBody>
          <a:bodyPr anchor="t"/>
          <a:lstStyle>
            <a:lvl1pPr algn="r">
              <a:buNone/>
              <a:defRPr sz="3200" b="0" cap="none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95400" y="4267200"/>
            <a:ext cx="6781800" cy="11430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6400800" y="6354763"/>
            <a:ext cx="2286000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DDE9EC"/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898775" y="6354763"/>
            <a:ext cx="3475038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DDE9EC"/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69975" y="6354763"/>
            <a:ext cx="1520825" cy="3667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AB5654-A92F-4D93-B5DD-BF7E521270F2}" type="slidenum">
              <a:rPr lang="ru-RU">
                <a:solidFill>
                  <a:srgbClr val="DDE9EC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DDE9E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5918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4041648" cy="49377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632198" y="1216152"/>
            <a:ext cx="4041648" cy="49377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5DC93-B1D8-47CA-9214-86418732C34A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476677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85875"/>
            <a:ext cx="4040188" cy="685800"/>
          </a:xfrm>
          <a:noFill/>
          <a:ln>
            <a:noFill/>
          </a:ln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8200" y="1295400"/>
            <a:ext cx="4041775" cy="685800"/>
          </a:xfrm>
          <a:noFill/>
          <a:ln>
            <a:noFill/>
          </a:ln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57200" y="2133600"/>
            <a:ext cx="4038600" cy="4038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648200" y="2133600"/>
            <a:ext cx="4038600" cy="4038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8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9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F3BD73-CE87-4E28-8748-C6A4CBDC7AE5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24250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авнобедренный треугольник 2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F0EB12-94D7-4C29-8CBB-0B8258092F62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270707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ая соединительная линия 1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" name="Равнобедренный треугольник 2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A8B48B-83AE-45E9-93E1-C58C95FC0F9B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27817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ая соединительная линия 4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Прямая соединительная линия 5"/>
          <p:cNvSpPr>
            <a:spLocks noChangeShapeType="1"/>
          </p:cNvSpPr>
          <p:nvPr/>
        </p:nvSpPr>
        <p:spPr bwMode="auto">
          <a:xfrm rot="5400000">
            <a:off x="3160712" y="3324226"/>
            <a:ext cx="6035675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" name="Равнобедренный треугольник 6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24600" y="304800"/>
            <a:ext cx="2514600" cy="838200"/>
          </a:xfrm>
        </p:spPr>
        <p:txBody>
          <a:bodyPr>
            <a:noAutofit/>
          </a:bodyPr>
          <a:lstStyle>
            <a:lvl1pPr algn="l">
              <a:buNone/>
              <a:defRPr sz="20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324600" y="1219200"/>
            <a:ext cx="2514600" cy="4843463"/>
          </a:xfrm>
        </p:spPr>
        <p:txBody>
          <a:bodyPr/>
          <a:lstStyle>
            <a:lvl1pPr marL="0" indent="0">
              <a:lnSpc>
                <a:spcPts val="22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Содержимое 11"/>
          <p:cNvSpPr>
            <a:spLocks noGrp="1"/>
          </p:cNvSpPr>
          <p:nvPr>
            <p:ph sz="quarter" idx="1"/>
          </p:nvPr>
        </p:nvSpPr>
        <p:spPr>
          <a:xfrm>
            <a:off x="304800" y="304800"/>
            <a:ext cx="5715000" cy="5715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B2AC23-7C84-4337-9E72-B4BAAD1B3EE9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598801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ая соединительная линия 4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6" name="Равнобедренный треугольник 5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57200" y="500063"/>
            <a:ext cx="182563" cy="68580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00856"/>
            <a:ext cx="8229600" cy="674688"/>
          </a:xfrm>
          <a:ln>
            <a:solidFill>
              <a:schemeClr val="accent1"/>
            </a:solidFill>
          </a:ln>
        </p:spPr>
        <p:txBody>
          <a:bodyPr lIns="274320" anchor="ctr"/>
          <a:lstStyle>
            <a:lvl1pPr algn="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7200" y="1905000"/>
            <a:ext cx="8229600" cy="4270248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219200"/>
            <a:ext cx="8229600" cy="533400"/>
          </a:xfrm>
        </p:spPr>
        <p:txBody>
          <a:bodyPr anchor="ctr"/>
          <a:lstStyle>
            <a:lvl1pPr marL="0" indent="0" algn="l">
              <a:buFontTx/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DDE9EC"/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DDE9EC"/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4937F-0AC0-4FC7-8454-AB1C0CF60E72}" type="slidenum">
              <a:rPr lang="ru-RU">
                <a:solidFill>
                  <a:srgbClr val="DDE9EC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DDE9E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774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4D725-6ABC-49E8-81CC-1A5970134B9A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1463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г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 flipV="1">
            <a:off x="874713" y="1058863"/>
            <a:ext cx="73469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6064910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3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Равнобедренный треугольник 4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ая соединительная линия 5"/>
          <p:cNvSpPr>
            <a:spLocks noChangeShapeType="1"/>
          </p:cNvSpPr>
          <p:nvPr/>
        </p:nvSpPr>
        <p:spPr bwMode="auto">
          <a:xfrm rot="5400000">
            <a:off x="3630612" y="3201988"/>
            <a:ext cx="5851525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B97D8-E695-426D-A75C-CE43D4BAB19A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170430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0013" y="301625"/>
            <a:ext cx="7313612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370013" y="1827213"/>
            <a:ext cx="3579812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02225" y="1827213"/>
            <a:ext cx="35814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409940-89C5-43C3-9AF5-A3542B54E713}" type="datetimeFigureOut">
              <a:rPr lang="ru-RU">
                <a:solidFill>
                  <a:srgbClr val="464653"/>
                </a:solidFill>
              </a:rPr>
              <a:pPr>
                <a:defRPr/>
              </a:pPr>
              <a:t>15.10.2021</a:t>
            </a:fld>
            <a:endParaRPr lang="ru-RU">
              <a:solidFill>
                <a:srgbClr val="464653"/>
              </a:solidFill>
            </a:endParaRPr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DDB2C5-AEB5-4FC0-B9DF-78EB67601915}" type="slidenum">
              <a:rPr lang="ru-RU">
                <a:solidFill>
                  <a:srgbClr val="464653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194698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4400" smtClean="0">
              <a:solidFill>
                <a:srgbClr val="464653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ru-RU" altLang="ru-RU" sz="3200" smtClean="0">
              <a:solidFill>
                <a:prstClr val="black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283410"/>
      </p:ext>
    </p:extLst>
  </p:cSld>
  <p:clrMapOvr>
    <a:masterClrMapping/>
  </p:clrMapOvr>
  <p:transition spd="slow"/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9577845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815" indent="0" algn="ctr">
              <a:buNone/>
              <a:defRPr/>
            </a:lvl2pPr>
            <a:lvl3pPr marL="913632" indent="0" algn="ctr">
              <a:buNone/>
              <a:defRPr/>
            </a:lvl3pPr>
            <a:lvl4pPr marL="1370447" indent="0" algn="ctr">
              <a:buNone/>
              <a:defRPr/>
            </a:lvl4pPr>
            <a:lvl5pPr marL="1827264" indent="0" algn="ctr">
              <a:buNone/>
              <a:defRPr/>
            </a:lvl5pPr>
            <a:lvl6pPr marL="2284078" indent="0" algn="ctr">
              <a:buNone/>
              <a:defRPr/>
            </a:lvl6pPr>
            <a:lvl7pPr marL="2740895" indent="0" algn="ctr">
              <a:buNone/>
              <a:defRPr/>
            </a:lvl7pPr>
            <a:lvl8pPr marL="3197711" indent="0" algn="ctr">
              <a:buNone/>
              <a:defRPr/>
            </a:lvl8pPr>
            <a:lvl9pPr marL="365452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D164D7-7E41-4A41-BF4E-1423B77FF4E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2275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3A7A61-A29E-4B85-A52D-AF2DE7D93CB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3291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5" y="2906717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5" indent="0">
              <a:buNone/>
              <a:defRPr sz="1800"/>
            </a:lvl2pPr>
            <a:lvl3pPr marL="913632" indent="0">
              <a:buNone/>
              <a:defRPr sz="1600"/>
            </a:lvl3pPr>
            <a:lvl4pPr marL="1370447" indent="0">
              <a:buNone/>
              <a:defRPr sz="1400"/>
            </a:lvl4pPr>
            <a:lvl5pPr marL="1827264" indent="0">
              <a:buNone/>
              <a:defRPr sz="1400"/>
            </a:lvl5pPr>
            <a:lvl6pPr marL="2284078" indent="0">
              <a:buNone/>
              <a:defRPr sz="1400"/>
            </a:lvl6pPr>
            <a:lvl7pPr marL="2740895" indent="0">
              <a:buNone/>
              <a:defRPr sz="1400"/>
            </a:lvl7pPr>
            <a:lvl8pPr marL="3197711" indent="0">
              <a:buNone/>
              <a:defRPr sz="1400"/>
            </a:lvl8pPr>
            <a:lvl9pPr marL="3654526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8C8B1-366A-4788-B21D-42395A26FA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4853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4F7C84-23AF-4DD2-9140-3A82FF46B94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0372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2" indent="0">
              <a:buNone/>
              <a:defRPr sz="1800" b="1"/>
            </a:lvl3pPr>
            <a:lvl4pPr marL="1370447" indent="0">
              <a:buNone/>
              <a:defRPr sz="1600" b="1"/>
            </a:lvl4pPr>
            <a:lvl5pPr marL="1827264" indent="0">
              <a:buNone/>
              <a:defRPr sz="1600" b="1"/>
            </a:lvl5pPr>
            <a:lvl6pPr marL="2284078" indent="0">
              <a:buNone/>
              <a:defRPr sz="1600" b="1"/>
            </a:lvl6pPr>
            <a:lvl7pPr marL="2740895" indent="0">
              <a:buNone/>
              <a:defRPr sz="1600" b="1"/>
            </a:lvl7pPr>
            <a:lvl8pPr marL="3197711" indent="0">
              <a:buNone/>
              <a:defRPr sz="1600" b="1"/>
            </a:lvl8pPr>
            <a:lvl9pPr marL="365452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9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2" indent="0">
              <a:buNone/>
              <a:defRPr sz="1800" b="1"/>
            </a:lvl3pPr>
            <a:lvl4pPr marL="1370447" indent="0">
              <a:buNone/>
              <a:defRPr sz="1600" b="1"/>
            </a:lvl4pPr>
            <a:lvl5pPr marL="1827264" indent="0">
              <a:buNone/>
              <a:defRPr sz="1600" b="1"/>
            </a:lvl5pPr>
            <a:lvl6pPr marL="2284078" indent="0">
              <a:buNone/>
              <a:defRPr sz="1600" b="1"/>
            </a:lvl6pPr>
            <a:lvl7pPr marL="2740895" indent="0">
              <a:buNone/>
              <a:defRPr sz="1600" b="1"/>
            </a:lvl7pPr>
            <a:lvl8pPr marL="3197711" indent="0">
              <a:buNone/>
              <a:defRPr sz="1600" b="1"/>
            </a:lvl8pPr>
            <a:lvl9pPr marL="365452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9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9A5826-78B5-4E42-AF9A-09CEE24A32C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48723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FEF9B-0EB1-4E9D-8153-B1138BA0AB1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6168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6B45B6-5FB4-40BE-BDEE-B46F5F574E1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4328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1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2" indent="0">
              <a:buNone/>
              <a:defRPr sz="1000"/>
            </a:lvl3pPr>
            <a:lvl4pPr marL="1370447" indent="0">
              <a:buNone/>
              <a:defRPr sz="900"/>
            </a:lvl4pPr>
            <a:lvl5pPr marL="1827264" indent="0">
              <a:buNone/>
              <a:defRPr sz="900"/>
            </a:lvl5pPr>
            <a:lvl6pPr marL="2284078" indent="0">
              <a:buNone/>
              <a:defRPr sz="900"/>
            </a:lvl6pPr>
            <a:lvl7pPr marL="2740895" indent="0">
              <a:buNone/>
              <a:defRPr sz="900"/>
            </a:lvl7pPr>
            <a:lvl8pPr marL="3197711" indent="0">
              <a:buNone/>
              <a:defRPr sz="900"/>
            </a:lvl8pPr>
            <a:lvl9pPr marL="365452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796137-1EF4-400E-8D5F-B2551A0137D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3761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15" indent="0">
              <a:buNone/>
              <a:defRPr sz="2800"/>
            </a:lvl2pPr>
            <a:lvl3pPr marL="913632" indent="0">
              <a:buNone/>
              <a:defRPr sz="2400"/>
            </a:lvl3pPr>
            <a:lvl4pPr marL="1370447" indent="0">
              <a:buNone/>
              <a:defRPr sz="2000"/>
            </a:lvl4pPr>
            <a:lvl5pPr marL="1827264" indent="0">
              <a:buNone/>
              <a:defRPr sz="2000"/>
            </a:lvl5pPr>
            <a:lvl6pPr marL="2284078" indent="0">
              <a:buNone/>
              <a:defRPr sz="2000"/>
            </a:lvl6pPr>
            <a:lvl7pPr marL="2740895" indent="0">
              <a:buNone/>
              <a:defRPr sz="2000"/>
            </a:lvl7pPr>
            <a:lvl8pPr marL="3197711" indent="0">
              <a:buNone/>
              <a:defRPr sz="2000"/>
            </a:lvl8pPr>
            <a:lvl9pPr marL="3654526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2" indent="0">
              <a:buNone/>
              <a:defRPr sz="1000"/>
            </a:lvl3pPr>
            <a:lvl4pPr marL="1370447" indent="0">
              <a:buNone/>
              <a:defRPr sz="900"/>
            </a:lvl4pPr>
            <a:lvl5pPr marL="1827264" indent="0">
              <a:buNone/>
              <a:defRPr sz="900"/>
            </a:lvl5pPr>
            <a:lvl6pPr marL="2284078" indent="0">
              <a:buNone/>
              <a:defRPr sz="900"/>
            </a:lvl6pPr>
            <a:lvl7pPr marL="2740895" indent="0">
              <a:buNone/>
              <a:defRPr sz="900"/>
            </a:lvl7pPr>
            <a:lvl8pPr marL="3197711" indent="0">
              <a:buNone/>
              <a:defRPr sz="900"/>
            </a:lvl8pPr>
            <a:lvl9pPr marL="365452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5C5F5-424B-4B54-9F3C-576384278F6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7628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CDEDA2-64C4-4C0D-838E-B6B2B704930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2686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2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F17BDB-BAC9-4D6F-81C0-9F40BFB77DF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050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2AE829-F297-428C-A89E-68F10DE72AF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1025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40F7DA-3442-439E-9F04-30F57C2A0AE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4731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CE3B3-74B8-428A-BE52-9BBDA2BC9E2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1748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BA81D8-97B9-4B63-A253-1F9A2981FBD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3109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3EBE5D-ACF4-4FE3-B2AE-F2C06A37914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7216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1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457200" y="3938593"/>
            <a:ext cx="8229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D56F5F-D011-46AD-B567-FF45C1A036D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1251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D3B156-265A-4938-82EC-8CCA36B1DA0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09736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1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1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938593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71B86-CE59-4D4C-A853-483FACCFD18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031231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981204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438069-7070-47BB-B154-F1816996090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2559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3460" y="82601"/>
            <a:ext cx="3790555" cy="920778"/>
          </a:xfrm>
        </p:spPr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978101" y="1695324"/>
            <a:ext cx="3785809" cy="55053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5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78101" y="4001960"/>
            <a:ext cx="3785809" cy="1846706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3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978101" y="2631223"/>
            <a:ext cx="3785809" cy="1218112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1044854" y="1694356"/>
            <a:ext cx="2834105" cy="290164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ru-RU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4978101" y="2209354"/>
            <a:ext cx="3785809" cy="391639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1042132" y="4752001"/>
            <a:ext cx="2833523" cy="253474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 b="1">
                <a:solidFill>
                  <a:srgbClr val="8DC63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1042135" y="5020898"/>
            <a:ext cx="2832821" cy="82777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rgbClr val="8DC63F"/>
                </a:solidFill>
              </a:defRPr>
            </a:lvl1pPr>
          </a:lstStyle>
          <a:p>
            <a:pPr>
              <a:defRPr/>
            </a:pPr>
            <a:r>
              <a:rPr lang="ru-RU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3970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71021" indent="-190339">
              <a:buClr>
                <a:srgbClr val="575C5F"/>
              </a:buClr>
              <a:buFont typeface="Arial" pitchFamily="34" charset="0"/>
              <a:buChar char="•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425944" y="854889"/>
            <a:ext cx="8691563" cy="1223962"/>
          </a:xfrm>
          <a:prstGeom prst="rect">
            <a:avLst/>
          </a:prstGeom>
        </p:spPr>
        <p:txBody>
          <a:bodyPr/>
          <a:lstStyle>
            <a:lvl1pPr>
              <a:defRPr sz="2200" b="1">
                <a:solidFill>
                  <a:srgbClr val="0093BD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CH" dirty="0"/>
          </a:p>
        </p:txBody>
      </p:sp>
      <p:sp>
        <p:nvSpPr>
          <p:cNvPr id="6" name="Espace réservé du contenu 8"/>
          <p:cNvSpPr>
            <a:spLocks noGrp="1"/>
          </p:cNvSpPr>
          <p:nvPr>
            <p:ph sz="quarter" idx="11"/>
          </p:nvPr>
        </p:nvSpPr>
        <p:spPr>
          <a:xfrm>
            <a:off x="443880" y="233650"/>
            <a:ext cx="3048000" cy="646113"/>
          </a:xfrm>
        </p:spPr>
        <p:txBody>
          <a:bodyPr/>
          <a:lstStyle>
            <a:lvl1pPr marL="0" indent="0">
              <a:buNone/>
              <a:defRPr sz="1800">
                <a:solidFill>
                  <a:srgbClr val="81888D"/>
                </a:solidFill>
              </a:defRPr>
            </a:lvl1pPr>
            <a:lvl4pPr marL="1243552" indent="0">
              <a:buNone/>
              <a:defRPr/>
            </a:lvl4pPr>
            <a:lvl5pPr marL="1713060" indent="0" algn="l">
              <a:buNone/>
              <a:defRPr sz="1800">
                <a:solidFill>
                  <a:srgbClr val="81888D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4133750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/>
        </p:spPr>
        <p:txBody>
          <a:bodyPr lIns="91364" tIns="45682" rIns="91364" bIns="45682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4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/>
        </p:spPr>
        <p:txBody>
          <a:bodyPr lIns="91364" tIns="45682" rIns="91364" bIns="45682"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ru-RU" altLang="ru-RU" sz="32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5125651"/>
      </p:ext>
    </p:extLst>
  </p:cSld>
  <p:clrMapOvr>
    <a:masterClrMapping/>
  </p:clrMapOvr>
  <p:transition spd="slow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19201"/>
            <a:ext cx="8229600" cy="23780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749680"/>
            <a:ext cx="8229600" cy="23796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3C1EF-4CE4-409A-A9A5-9E4DC9CC49AA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10/15/202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749A2-68E7-40D8-B62C-8C321085DC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0710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C19E83-75C7-4695-BE46-33385F5AD693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76416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8817748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5"/>
          <p:cNvSpPr txBox="1">
            <a:spLocks noChangeArrowheads="1"/>
          </p:cNvSpPr>
          <p:nvPr userDrawn="1"/>
        </p:nvSpPr>
        <p:spPr bwMode="auto">
          <a:xfrm>
            <a:off x="34925" y="-26988"/>
            <a:ext cx="4249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7030A0"/>
                </a:solidFill>
              </a:rPr>
              <a:t>PUL 508-02-12</a:t>
            </a:r>
            <a:endParaRPr lang="en-GB" sz="1000" smtClean="0">
              <a:solidFill>
                <a:srgbClr val="7030A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864096"/>
          </a:xfrm>
        </p:spPr>
        <p:txBody>
          <a:bodyPr anchor="b"/>
          <a:lstStyle>
            <a:lvl1pPr>
              <a:defRPr sz="3200" b="0">
                <a:solidFill>
                  <a:schemeClr val="tx1"/>
                </a:solidFill>
                <a:effectLst/>
                <a:latin typeface="Corbe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468318" y="1412776"/>
            <a:ext cx="8207375" cy="4753074"/>
          </a:xfrm>
        </p:spPr>
        <p:txBody>
          <a:bodyPr/>
          <a:lstStyle>
            <a:lvl1pPr>
              <a:defRPr>
                <a:solidFill>
                  <a:schemeClr val="accent5"/>
                </a:solidFill>
                <a:latin typeface="+mn-lt"/>
              </a:defRPr>
            </a:lvl1pPr>
            <a:lvl2pPr marL="456815" indent="0">
              <a:buClr>
                <a:schemeClr val="bg2"/>
              </a:buClr>
              <a:buFont typeface="Arial" pitchFamily="34" charset="0"/>
              <a:buNone/>
              <a:defRPr sz="2200">
                <a:solidFill>
                  <a:schemeClr val="bg2"/>
                </a:solidFill>
                <a:latin typeface="+mn-lt"/>
              </a:defRPr>
            </a:lvl2pPr>
            <a:lvl3pPr marL="913632" indent="0">
              <a:buFont typeface="Arial" pitchFamily="34" charset="0"/>
              <a:buNone/>
              <a:defRPr sz="2000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0"/>
          </p:nvPr>
        </p:nvSpPr>
        <p:spPr>
          <a:xfrm>
            <a:off x="477838" y="5868989"/>
            <a:ext cx="8229600" cy="85883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1600">
                <a:solidFill>
                  <a:schemeClr val="tx1"/>
                </a:solidFill>
              </a:defRPr>
            </a:lvl1pPr>
            <a:lvl2pPr marL="456815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12098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андартное содержим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11"/>
          </p:nvPr>
        </p:nvSpPr>
        <p:spPr>
          <a:xfrm>
            <a:off x="539750" y="2097088"/>
            <a:ext cx="8064500" cy="3924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B65047-CFBD-4885-BFE4-595CBDA266BC}" type="datetime1">
              <a:rPr lang="ru-RU">
                <a:solidFill>
                  <a:srgbClr val="000000"/>
                </a:solidFill>
              </a:rPr>
              <a:pPr>
                <a:defRPr/>
              </a:pPr>
              <a:t>15.10.2021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8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C68DB7A-8A31-4C92-8F52-2F703A83928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5569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н низ пра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niz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67363"/>
            <a:ext cx="9144000" cy="1290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groprinosLogo.wm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6429375"/>
            <a:ext cx="207168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2985"/>
            <a:ext cx="8229600" cy="4429156"/>
          </a:xfrm>
        </p:spPr>
        <p:txBody>
          <a:bodyPr/>
          <a:lstStyle>
            <a:lvl2pPr>
              <a:buFont typeface="Arial" pitchFamily="34" charset="0"/>
              <a:buChar char="•"/>
              <a:defRPr/>
            </a:lvl2pPr>
            <a:lvl3pPr>
              <a:buClr>
                <a:srgbClr val="FFFF00"/>
              </a:buClr>
              <a:defRPr/>
            </a:lvl3pPr>
            <a:lvl4pPr>
              <a:buFont typeface="Arial" pitchFamily="34" charset="0"/>
              <a:buChar char="•"/>
              <a:defRPr/>
            </a:lvl4pPr>
            <a:lvl5pPr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4000496" y="6215082"/>
            <a:ext cx="4714908" cy="642918"/>
          </a:xfrm>
        </p:spPr>
        <p:txBody>
          <a:bodyPr>
            <a:normAutofit/>
          </a:bodyPr>
          <a:lstStyle>
            <a:lvl1pPr marL="0" indent="0" algn="r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4568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6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4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2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0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8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7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5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73194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-36513" y="6638925"/>
            <a:ext cx="42497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7030A0"/>
                </a:solidFill>
              </a:rPr>
              <a:t>PUL 508-02-12</a:t>
            </a:r>
            <a:endParaRPr lang="en-GB" sz="1000" smtClean="0">
              <a:solidFill>
                <a:srgbClr val="7030A0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1547668" y="2708921"/>
            <a:ext cx="7169299" cy="1161405"/>
          </a:xfrm>
        </p:spPr>
        <p:txBody>
          <a:bodyPr anchor="ctr">
            <a:normAutofit/>
          </a:bodyPr>
          <a:lstStyle>
            <a:lvl1pPr algn="l">
              <a:defRPr sz="4400" b="0">
                <a:solidFill>
                  <a:schemeClr val="tx1"/>
                </a:solidFill>
                <a:latin typeface="Inform Cyr" pitchFamily="8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Текст 5"/>
          <p:cNvSpPr>
            <a:spLocks noGrp="1"/>
          </p:cNvSpPr>
          <p:nvPr>
            <p:ph type="body" sz="quarter" idx="11"/>
          </p:nvPr>
        </p:nvSpPr>
        <p:spPr>
          <a:xfrm>
            <a:off x="467546" y="2708921"/>
            <a:ext cx="936104" cy="1161405"/>
          </a:xfrm>
        </p:spPr>
        <p:txBody>
          <a:bodyPr anchor="ctr">
            <a:noAutofit/>
          </a:bodyPr>
          <a:lstStyle>
            <a:lvl1pPr algn="ctr">
              <a:defRPr sz="9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5937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8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0974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2058" indent="-452058">
              <a:buSzPct val="100000"/>
              <a:buFont typeface="+mj-lt"/>
              <a:buAutoNum type="arabicPeriod"/>
              <a:defRPr/>
            </a:lvl1pPr>
            <a:lvl2pPr marL="683638" indent="-231580">
              <a:defRPr/>
            </a:lvl2pPr>
            <a:lvl3pPr marL="913632" indent="-229994">
              <a:defRPr/>
            </a:lvl3pPr>
            <a:lvl4pPr marL="1145211" indent="-231580">
              <a:defRPr/>
            </a:lvl4pPr>
            <a:lvl5pPr marL="1367273" indent="-222064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3412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0" y="0"/>
            <a:ext cx="7242175" cy="1981200"/>
            <a:chOff x="0" y="0"/>
            <a:chExt cx="4562" cy="1248"/>
          </a:xfrm>
        </p:grpSpPr>
        <p:sp>
          <p:nvSpPr>
            <p:cNvPr id="6" name="Freeform 3"/>
            <p:cNvSpPr>
              <a:spLocks/>
            </p:cNvSpPr>
            <p:nvPr/>
          </p:nvSpPr>
          <p:spPr bwMode="hidden">
            <a:xfrm>
              <a:off x="0" y="583"/>
              <a:ext cx="4487" cy="665"/>
            </a:xfrm>
            <a:custGeom>
              <a:avLst/>
              <a:gdLst/>
              <a:ahLst/>
              <a:cxnLst>
                <a:cxn ang="0">
                  <a:pos x="4800" y="299"/>
                </a:cxn>
                <a:cxn ang="0">
                  <a:pos x="0" y="665"/>
                </a:cxn>
                <a:cxn ang="0">
                  <a:pos x="0" y="0"/>
                </a:cxn>
                <a:cxn ang="0">
                  <a:pos x="4806" y="1"/>
                </a:cxn>
                <a:cxn ang="0">
                  <a:pos x="4800" y="153"/>
                </a:cxn>
                <a:cxn ang="0">
                  <a:pos x="4800" y="299"/>
                </a:cxn>
              </a:cxnLst>
              <a:rect l="0" t="0" r="r" b="b"/>
              <a:pathLst>
                <a:path w="4806" h="665">
                  <a:moveTo>
                    <a:pt x="4800" y="299"/>
                  </a:moveTo>
                  <a:lnTo>
                    <a:pt x="0" y="665"/>
                  </a:lnTo>
                  <a:lnTo>
                    <a:pt x="0" y="0"/>
                  </a:lnTo>
                  <a:lnTo>
                    <a:pt x="4806" y="1"/>
                  </a:lnTo>
                  <a:lnTo>
                    <a:pt x="4800" y="153"/>
                  </a:lnTo>
                  <a:lnTo>
                    <a:pt x="4800" y="299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94118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>
                <a:solidFill>
                  <a:srgbClr val="FFFFFF"/>
                </a:solidFill>
              </a:endParaRPr>
            </a:p>
          </p:txBody>
        </p:sp>
        <p:sp>
          <p:nvSpPr>
            <p:cNvPr id="7" name="Freeform 4"/>
            <p:cNvSpPr>
              <a:spLocks/>
            </p:cNvSpPr>
            <p:nvPr/>
          </p:nvSpPr>
          <p:spPr bwMode="hidden">
            <a:xfrm>
              <a:off x="0" y="0"/>
              <a:ext cx="4562" cy="1199"/>
            </a:xfrm>
            <a:custGeom>
              <a:avLst/>
              <a:gdLst>
                <a:gd name="T0" fmla="*/ 4560 w 4562"/>
                <a:gd name="T1" fmla="*/ 932 h 1199"/>
                <a:gd name="T2" fmla="*/ 0 w 4562"/>
                <a:gd name="T3" fmla="*/ 1199 h 1199"/>
                <a:gd name="T4" fmla="*/ 0 w 4562"/>
                <a:gd name="T5" fmla="*/ 0 h 1199"/>
                <a:gd name="T6" fmla="*/ 4562 w 4562"/>
                <a:gd name="T7" fmla="*/ 0 h 1199"/>
                <a:gd name="T8" fmla="*/ 4560 w 4562"/>
                <a:gd name="T9" fmla="*/ 932 h 1199"/>
                <a:gd name="T10" fmla="*/ 4560 w 4562"/>
                <a:gd name="T11" fmla="*/ 932 h 11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562" h="1199">
                  <a:moveTo>
                    <a:pt x="4560" y="932"/>
                  </a:moveTo>
                  <a:lnTo>
                    <a:pt x="0" y="1199"/>
                  </a:lnTo>
                  <a:lnTo>
                    <a:pt x="0" y="0"/>
                  </a:lnTo>
                  <a:lnTo>
                    <a:pt x="4562" y="0"/>
                  </a:lnTo>
                  <a:lnTo>
                    <a:pt x="4560" y="932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40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991" y="1600209"/>
            <a:ext cx="8229600" cy="4525963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1pPr>
            <a:lvl2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2pPr>
            <a:lvl3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3pPr>
            <a:lvl4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4pPr>
            <a:lvl5pPr>
              <a:defRPr b="0">
                <a:solidFill>
                  <a:schemeClr val="accent4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930" y="-28127"/>
            <a:ext cx="8143845" cy="864840"/>
          </a:xfrm>
          <a:prstGeom prst="rect">
            <a:avLst/>
          </a:prstGeom>
        </p:spPr>
        <p:txBody>
          <a:bodyPr rtlCol="0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ru-RU" sz="24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90334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1695828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/>
              <a:t>Образец текста</a:t>
            </a:r>
          </a:p>
          <a:p>
            <a:pPr lvl="1"/>
            <a:r>
              <a:rPr lang="ru-RU" noProof="1"/>
              <a:t>Второй уровень</a:t>
            </a:r>
          </a:p>
          <a:p>
            <a:pPr lvl="2"/>
            <a:r>
              <a:rPr lang="ru-RU" noProof="1"/>
              <a:t>Третий уровень</a:t>
            </a:r>
          </a:p>
          <a:p>
            <a:pPr lvl="3"/>
            <a:r>
              <a:rPr lang="ru-RU" noProof="1"/>
              <a:t>Четвертый уровень</a:t>
            </a:r>
          </a:p>
          <a:p>
            <a:pPr lvl="4"/>
            <a:r>
              <a:rPr lang="ru-RU" noProof="1"/>
              <a:t>Пятый уровень</a:t>
            </a:r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0BFD82-B06A-4592-8E38-9E2FA07EBEE6}" type="datetimeFigureOut">
              <a:rPr lang="ru-RU" altLang="en-US">
                <a:solidFill>
                  <a:srgbClr val="000000"/>
                </a:solidFill>
              </a:rPr>
              <a:pPr>
                <a:defRPr/>
              </a:pPr>
              <a:t>15.10.2021</a:t>
            </a:fld>
            <a:endParaRPr lang="ru-RU" altLang="en-US">
              <a:solidFill>
                <a:srgbClr val="000000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914400" y="6629400"/>
            <a:ext cx="57150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AEFD81-91A1-4D5A-882F-42F531FFB961}" type="slidenum">
              <a:rPr lang="ru-RU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75883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551128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г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 flipV="1">
            <a:off x="874713" y="1058863"/>
            <a:ext cx="734695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60933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815" indent="0" algn="ctr">
              <a:buNone/>
              <a:defRPr/>
            </a:lvl2pPr>
            <a:lvl3pPr marL="913632" indent="0" algn="ctr">
              <a:buNone/>
              <a:defRPr/>
            </a:lvl3pPr>
            <a:lvl4pPr marL="1370447" indent="0" algn="ctr">
              <a:buNone/>
              <a:defRPr/>
            </a:lvl4pPr>
            <a:lvl5pPr marL="1827264" indent="0" algn="ctr">
              <a:buNone/>
              <a:defRPr/>
            </a:lvl5pPr>
            <a:lvl6pPr marL="2284078" indent="0" algn="ctr">
              <a:buNone/>
              <a:defRPr/>
            </a:lvl6pPr>
            <a:lvl7pPr marL="2740895" indent="0" algn="ctr">
              <a:buNone/>
              <a:defRPr/>
            </a:lvl7pPr>
            <a:lvl8pPr marL="3197711" indent="0" algn="ctr">
              <a:buNone/>
              <a:defRPr/>
            </a:lvl8pPr>
            <a:lvl9pPr marL="365452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D164D7-7E41-4A41-BF4E-1423B77FF4E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6838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3A7A61-A29E-4B85-A52D-AF2DE7D93CB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7184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5" y="2906717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15" indent="0">
              <a:buNone/>
              <a:defRPr sz="1800"/>
            </a:lvl2pPr>
            <a:lvl3pPr marL="913632" indent="0">
              <a:buNone/>
              <a:defRPr sz="1600"/>
            </a:lvl3pPr>
            <a:lvl4pPr marL="1370447" indent="0">
              <a:buNone/>
              <a:defRPr sz="1400"/>
            </a:lvl4pPr>
            <a:lvl5pPr marL="1827264" indent="0">
              <a:buNone/>
              <a:defRPr sz="1400"/>
            </a:lvl5pPr>
            <a:lvl6pPr marL="2284078" indent="0">
              <a:buNone/>
              <a:defRPr sz="1400"/>
            </a:lvl6pPr>
            <a:lvl7pPr marL="2740895" indent="0">
              <a:buNone/>
              <a:defRPr sz="1400"/>
            </a:lvl7pPr>
            <a:lvl8pPr marL="3197711" indent="0">
              <a:buNone/>
              <a:defRPr sz="1400"/>
            </a:lvl8pPr>
            <a:lvl9pPr marL="3654526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8C8B1-366A-4788-B21D-42395A26FA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35473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4F7C84-23AF-4DD2-9140-3A82FF46B94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6174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2" indent="0">
              <a:buNone/>
              <a:defRPr sz="1800" b="1"/>
            </a:lvl3pPr>
            <a:lvl4pPr marL="1370447" indent="0">
              <a:buNone/>
              <a:defRPr sz="1600" b="1"/>
            </a:lvl4pPr>
            <a:lvl5pPr marL="1827264" indent="0">
              <a:buNone/>
              <a:defRPr sz="1600" b="1"/>
            </a:lvl5pPr>
            <a:lvl6pPr marL="2284078" indent="0">
              <a:buNone/>
              <a:defRPr sz="1600" b="1"/>
            </a:lvl6pPr>
            <a:lvl7pPr marL="2740895" indent="0">
              <a:buNone/>
              <a:defRPr sz="1600" b="1"/>
            </a:lvl7pPr>
            <a:lvl8pPr marL="3197711" indent="0">
              <a:buNone/>
              <a:defRPr sz="1600" b="1"/>
            </a:lvl8pPr>
            <a:lvl9pPr marL="365452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9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15" indent="0">
              <a:buNone/>
              <a:defRPr sz="2000" b="1"/>
            </a:lvl2pPr>
            <a:lvl3pPr marL="913632" indent="0">
              <a:buNone/>
              <a:defRPr sz="1800" b="1"/>
            </a:lvl3pPr>
            <a:lvl4pPr marL="1370447" indent="0">
              <a:buNone/>
              <a:defRPr sz="1600" b="1"/>
            </a:lvl4pPr>
            <a:lvl5pPr marL="1827264" indent="0">
              <a:buNone/>
              <a:defRPr sz="1600" b="1"/>
            </a:lvl5pPr>
            <a:lvl6pPr marL="2284078" indent="0">
              <a:buNone/>
              <a:defRPr sz="1600" b="1"/>
            </a:lvl6pPr>
            <a:lvl7pPr marL="2740895" indent="0">
              <a:buNone/>
              <a:defRPr sz="1600" b="1"/>
            </a:lvl7pPr>
            <a:lvl8pPr marL="3197711" indent="0">
              <a:buNone/>
              <a:defRPr sz="1600" b="1"/>
            </a:lvl8pPr>
            <a:lvl9pPr marL="365452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9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9A5826-78B5-4E42-AF9A-09CEE24A32C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1823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FEF9B-0EB1-4E9D-8153-B1138BA0AB1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14110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6B45B6-5FB4-40BE-BDEE-B46F5F574E1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03775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1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2" indent="0">
              <a:buNone/>
              <a:defRPr sz="1000"/>
            </a:lvl3pPr>
            <a:lvl4pPr marL="1370447" indent="0">
              <a:buNone/>
              <a:defRPr sz="900"/>
            </a:lvl4pPr>
            <a:lvl5pPr marL="1827264" indent="0">
              <a:buNone/>
              <a:defRPr sz="900"/>
            </a:lvl5pPr>
            <a:lvl6pPr marL="2284078" indent="0">
              <a:buNone/>
              <a:defRPr sz="900"/>
            </a:lvl6pPr>
            <a:lvl7pPr marL="2740895" indent="0">
              <a:buNone/>
              <a:defRPr sz="900"/>
            </a:lvl7pPr>
            <a:lvl8pPr marL="3197711" indent="0">
              <a:buNone/>
              <a:defRPr sz="900"/>
            </a:lvl8pPr>
            <a:lvl9pPr marL="365452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796137-1EF4-400E-8D5F-B2551A0137D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16626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15" indent="0">
              <a:buNone/>
              <a:defRPr sz="2800"/>
            </a:lvl2pPr>
            <a:lvl3pPr marL="913632" indent="0">
              <a:buNone/>
              <a:defRPr sz="2400"/>
            </a:lvl3pPr>
            <a:lvl4pPr marL="1370447" indent="0">
              <a:buNone/>
              <a:defRPr sz="2000"/>
            </a:lvl4pPr>
            <a:lvl5pPr marL="1827264" indent="0">
              <a:buNone/>
              <a:defRPr sz="2000"/>
            </a:lvl5pPr>
            <a:lvl6pPr marL="2284078" indent="0">
              <a:buNone/>
              <a:defRPr sz="2000"/>
            </a:lvl6pPr>
            <a:lvl7pPr marL="2740895" indent="0">
              <a:buNone/>
              <a:defRPr sz="2000"/>
            </a:lvl7pPr>
            <a:lvl8pPr marL="3197711" indent="0">
              <a:buNone/>
              <a:defRPr sz="2000"/>
            </a:lvl8pPr>
            <a:lvl9pPr marL="3654526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15" indent="0">
              <a:buNone/>
              <a:defRPr sz="1200"/>
            </a:lvl2pPr>
            <a:lvl3pPr marL="913632" indent="0">
              <a:buNone/>
              <a:defRPr sz="1000"/>
            </a:lvl3pPr>
            <a:lvl4pPr marL="1370447" indent="0">
              <a:buNone/>
              <a:defRPr sz="900"/>
            </a:lvl4pPr>
            <a:lvl5pPr marL="1827264" indent="0">
              <a:buNone/>
              <a:defRPr sz="900"/>
            </a:lvl5pPr>
            <a:lvl6pPr marL="2284078" indent="0">
              <a:buNone/>
              <a:defRPr sz="900"/>
            </a:lvl6pPr>
            <a:lvl7pPr marL="2740895" indent="0">
              <a:buNone/>
              <a:defRPr sz="900"/>
            </a:lvl7pPr>
            <a:lvl8pPr marL="3197711" indent="0">
              <a:buNone/>
              <a:defRPr sz="900"/>
            </a:lvl8pPr>
            <a:lvl9pPr marL="365452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5C5F5-424B-4B54-9F3C-576384278F6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327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CDEDA2-64C4-4C0D-838E-B6B2B704930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8237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2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F17BDB-BAC9-4D6F-81C0-9F40BFB77DF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86700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2AE829-F297-428C-A89E-68F10DE72AF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86212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40F7DA-3442-439E-9F04-30F57C2A0AE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16094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CE3B3-74B8-428A-BE52-9BBDA2BC9E2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158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13" Type="http://schemas.openxmlformats.org/officeDocument/2006/relationships/slideLayout" Target="../slideLayouts/slideLayout344.xml"/><Relationship Id="rId18" Type="http://schemas.openxmlformats.org/officeDocument/2006/relationships/slideLayout" Target="../slideLayouts/slideLayout349.xml"/><Relationship Id="rId26" Type="http://schemas.openxmlformats.org/officeDocument/2006/relationships/slideLayout" Target="../slideLayouts/slideLayout357.xml"/><Relationship Id="rId39" Type="http://schemas.openxmlformats.org/officeDocument/2006/relationships/slideLayout" Target="../slideLayouts/slideLayout370.xml"/><Relationship Id="rId3" Type="http://schemas.openxmlformats.org/officeDocument/2006/relationships/slideLayout" Target="../slideLayouts/slideLayout334.xml"/><Relationship Id="rId21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365.xml"/><Relationship Id="rId42" Type="http://schemas.openxmlformats.org/officeDocument/2006/relationships/slideLayout" Target="../slideLayouts/slideLayout373.xml"/><Relationship Id="rId7" Type="http://schemas.openxmlformats.org/officeDocument/2006/relationships/slideLayout" Target="../slideLayouts/slideLayout338.xml"/><Relationship Id="rId12" Type="http://schemas.openxmlformats.org/officeDocument/2006/relationships/slideLayout" Target="../slideLayouts/slideLayout343.xml"/><Relationship Id="rId17" Type="http://schemas.openxmlformats.org/officeDocument/2006/relationships/slideLayout" Target="../slideLayouts/slideLayout348.xml"/><Relationship Id="rId25" Type="http://schemas.openxmlformats.org/officeDocument/2006/relationships/slideLayout" Target="../slideLayouts/slideLayout356.xml"/><Relationship Id="rId33" Type="http://schemas.openxmlformats.org/officeDocument/2006/relationships/slideLayout" Target="../slideLayouts/slideLayout364.xml"/><Relationship Id="rId38" Type="http://schemas.openxmlformats.org/officeDocument/2006/relationships/slideLayout" Target="../slideLayouts/slideLayout369.xml"/><Relationship Id="rId2" Type="http://schemas.openxmlformats.org/officeDocument/2006/relationships/slideLayout" Target="../slideLayouts/slideLayout333.xml"/><Relationship Id="rId16" Type="http://schemas.openxmlformats.org/officeDocument/2006/relationships/slideLayout" Target="../slideLayouts/slideLayout347.xml"/><Relationship Id="rId20" Type="http://schemas.openxmlformats.org/officeDocument/2006/relationships/slideLayout" Target="../slideLayouts/slideLayout351.xml"/><Relationship Id="rId29" Type="http://schemas.openxmlformats.org/officeDocument/2006/relationships/slideLayout" Target="../slideLayouts/slideLayout360.xml"/><Relationship Id="rId41" Type="http://schemas.openxmlformats.org/officeDocument/2006/relationships/slideLayout" Target="../slideLayouts/slideLayout372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1" Type="http://schemas.openxmlformats.org/officeDocument/2006/relationships/slideLayout" Target="../slideLayouts/slideLayout342.xml"/><Relationship Id="rId24" Type="http://schemas.openxmlformats.org/officeDocument/2006/relationships/slideLayout" Target="../slideLayouts/slideLayout355.xml"/><Relationship Id="rId32" Type="http://schemas.openxmlformats.org/officeDocument/2006/relationships/slideLayout" Target="../slideLayouts/slideLayout363.xml"/><Relationship Id="rId37" Type="http://schemas.openxmlformats.org/officeDocument/2006/relationships/slideLayout" Target="../slideLayouts/slideLayout368.xml"/><Relationship Id="rId40" Type="http://schemas.openxmlformats.org/officeDocument/2006/relationships/slideLayout" Target="../slideLayouts/slideLayout371.xml"/><Relationship Id="rId5" Type="http://schemas.openxmlformats.org/officeDocument/2006/relationships/slideLayout" Target="../slideLayouts/slideLayout336.xml"/><Relationship Id="rId15" Type="http://schemas.openxmlformats.org/officeDocument/2006/relationships/slideLayout" Target="../slideLayouts/slideLayout346.xml"/><Relationship Id="rId23" Type="http://schemas.openxmlformats.org/officeDocument/2006/relationships/slideLayout" Target="../slideLayouts/slideLayout354.xml"/><Relationship Id="rId28" Type="http://schemas.openxmlformats.org/officeDocument/2006/relationships/slideLayout" Target="../slideLayouts/slideLayout359.xml"/><Relationship Id="rId36" Type="http://schemas.openxmlformats.org/officeDocument/2006/relationships/slideLayout" Target="../slideLayouts/slideLayout367.xml"/><Relationship Id="rId10" Type="http://schemas.openxmlformats.org/officeDocument/2006/relationships/slideLayout" Target="../slideLayouts/slideLayout341.xml"/><Relationship Id="rId19" Type="http://schemas.openxmlformats.org/officeDocument/2006/relationships/slideLayout" Target="../slideLayouts/slideLayout350.xml"/><Relationship Id="rId31" Type="http://schemas.openxmlformats.org/officeDocument/2006/relationships/slideLayout" Target="../slideLayouts/slideLayout362.xml"/><Relationship Id="rId44" Type="http://schemas.openxmlformats.org/officeDocument/2006/relationships/theme" Target="../theme/theme10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Relationship Id="rId14" Type="http://schemas.openxmlformats.org/officeDocument/2006/relationships/slideLayout" Target="../slideLayouts/slideLayout345.xml"/><Relationship Id="rId22" Type="http://schemas.openxmlformats.org/officeDocument/2006/relationships/slideLayout" Target="../slideLayouts/slideLayout353.xml"/><Relationship Id="rId27" Type="http://schemas.openxmlformats.org/officeDocument/2006/relationships/slideLayout" Target="../slideLayouts/slideLayout358.xml"/><Relationship Id="rId30" Type="http://schemas.openxmlformats.org/officeDocument/2006/relationships/slideLayout" Target="../slideLayouts/slideLayout361.xml"/><Relationship Id="rId35" Type="http://schemas.openxmlformats.org/officeDocument/2006/relationships/slideLayout" Target="../slideLayouts/slideLayout366.xml"/><Relationship Id="rId43" Type="http://schemas.openxmlformats.org/officeDocument/2006/relationships/slideLayout" Target="../slideLayouts/slideLayout37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2.xml"/><Relationship Id="rId13" Type="http://schemas.openxmlformats.org/officeDocument/2006/relationships/slideLayout" Target="../slideLayouts/slideLayout387.xml"/><Relationship Id="rId18" Type="http://schemas.openxmlformats.org/officeDocument/2006/relationships/slideLayout" Target="../slideLayouts/slideLayout392.xml"/><Relationship Id="rId3" Type="http://schemas.openxmlformats.org/officeDocument/2006/relationships/slideLayout" Target="../slideLayouts/slideLayout377.xml"/><Relationship Id="rId21" Type="http://schemas.openxmlformats.org/officeDocument/2006/relationships/slideLayout" Target="../slideLayouts/slideLayout395.xml"/><Relationship Id="rId7" Type="http://schemas.openxmlformats.org/officeDocument/2006/relationships/slideLayout" Target="../slideLayouts/slideLayout381.xml"/><Relationship Id="rId12" Type="http://schemas.openxmlformats.org/officeDocument/2006/relationships/slideLayout" Target="../slideLayouts/slideLayout386.xml"/><Relationship Id="rId17" Type="http://schemas.openxmlformats.org/officeDocument/2006/relationships/slideLayout" Target="../slideLayouts/slideLayout391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76.xml"/><Relationship Id="rId16" Type="http://schemas.openxmlformats.org/officeDocument/2006/relationships/slideLayout" Target="../slideLayouts/slideLayout390.xml"/><Relationship Id="rId20" Type="http://schemas.openxmlformats.org/officeDocument/2006/relationships/slideLayout" Target="../slideLayouts/slideLayout394.xml"/><Relationship Id="rId1" Type="http://schemas.openxmlformats.org/officeDocument/2006/relationships/slideLayout" Target="../slideLayouts/slideLayout375.xml"/><Relationship Id="rId6" Type="http://schemas.openxmlformats.org/officeDocument/2006/relationships/slideLayout" Target="../slideLayouts/slideLayout380.xml"/><Relationship Id="rId11" Type="http://schemas.openxmlformats.org/officeDocument/2006/relationships/slideLayout" Target="../slideLayouts/slideLayout385.xml"/><Relationship Id="rId24" Type="http://schemas.openxmlformats.org/officeDocument/2006/relationships/theme" Target="../theme/theme11.xml"/><Relationship Id="rId5" Type="http://schemas.openxmlformats.org/officeDocument/2006/relationships/slideLayout" Target="../slideLayouts/slideLayout379.xml"/><Relationship Id="rId15" Type="http://schemas.openxmlformats.org/officeDocument/2006/relationships/slideLayout" Target="../slideLayouts/slideLayout389.xml"/><Relationship Id="rId23" Type="http://schemas.openxmlformats.org/officeDocument/2006/relationships/slideLayout" Target="../slideLayouts/slideLayout397.xml"/><Relationship Id="rId10" Type="http://schemas.openxmlformats.org/officeDocument/2006/relationships/slideLayout" Target="../slideLayouts/slideLayout384.xml"/><Relationship Id="rId19" Type="http://schemas.openxmlformats.org/officeDocument/2006/relationships/slideLayout" Target="../slideLayouts/slideLayout393.xml"/><Relationship Id="rId4" Type="http://schemas.openxmlformats.org/officeDocument/2006/relationships/slideLayout" Target="../slideLayouts/slideLayout378.xml"/><Relationship Id="rId9" Type="http://schemas.openxmlformats.org/officeDocument/2006/relationships/slideLayout" Target="../slideLayouts/slideLayout383.xml"/><Relationship Id="rId14" Type="http://schemas.openxmlformats.org/officeDocument/2006/relationships/slideLayout" Target="../slideLayouts/slideLayout388.xml"/><Relationship Id="rId22" Type="http://schemas.openxmlformats.org/officeDocument/2006/relationships/slideLayout" Target="../slideLayouts/slideLayout39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5.xml"/><Relationship Id="rId13" Type="http://schemas.openxmlformats.org/officeDocument/2006/relationships/slideLayout" Target="../slideLayouts/slideLayout410.xml"/><Relationship Id="rId18" Type="http://schemas.openxmlformats.org/officeDocument/2006/relationships/slideLayout" Target="../slideLayouts/slideLayout415.xml"/><Relationship Id="rId3" Type="http://schemas.openxmlformats.org/officeDocument/2006/relationships/slideLayout" Target="../slideLayouts/slideLayout400.xml"/><Relationship Id="rId21" Type="http://schemas.openxmlformats.org/officeDocument/2006/relationships/slideLayout" Target="../slideLayouts/slideLayout418.xml"/><Relationship Id="rId7" Type="http://schemas.openxmlformats.org/officeDocument/2006/relationships/slideLayout" Target="../slideLayouts/slideLayout404.xml"/><Relationship Id="rId12" Type="http://schemas.openxmlformats.org/officeDocument/2006/relationships/slideLayout" Target="../slideLayouts/slideLayout409.xml"/><Relationship Id="rId17" Type="http://schemas.openxmlformats.org/officeDocument/2006/relationships/slideLayout" Target="../slideLayouts/slideLayout414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399.xml"/><Relationship Id="rId16" Type="http://schemas.openxmlformats.org/officeDocument/2006/relationships/slideLayout" Target="../slideLayouts/slideLayout413.xml"/><Relationship Id="rId20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398.xml"/><Relationship Id="rId6" Type="http://schemas.openxmlformats.org/officeDocument/2006/relationships/slideLayout" Target="../slideLayouts/slideLayout403.xml"/><Relationship Id="rId11" Type="http://schemas.openxmlformats.org/officeDocument/2006/relationships/slideLayout" Target="../slideLayouts/slideLayout408.xml"/><Relationship Id="rId24" Type="http://schemas.openxmlformats.org/officeDocument/2006/relationships/theme" Target="../theme/theme12.xml"/><Relationship Id="rId5" Type="http://schemas.openxmlformats.org/officeDocument/2006/relationships/slideLayout" Target="../slideLayouts/slideLayout402.xml"/><Relationship Id="rId15" Type="http://schemas.openxmlformats.org/officeDocument/2006/relationships/slideLayout" Target="../slideLayouts/slideLayout412.xml"/><Relationship Id="rId23" Type="http://schemas.openxmlformats.org/officeDocument/2006/relationships/slideLayout" Target="../slideLayouts/slideLayout420.xml"/><Relationship Id="rId10" Type="http://schemas.openxmlformats.org/officeDocument/2006/relationships/slideLayout" Target="../slideLayouts/slideLayout407.xml"/><Relationship Id="rId19" Type="http://schemas.openxmlformats.org/officeDocument/2006/relationships/slideLayout" Target="../slideLayouts/slideLayout416.xml"/><Relationship Id="rId4" Type="http://schemas.openxmlformats.org/officeDocument/2006/relationships/slideLayout" Target="../slideLayouts/slideLayout401.xml"/><Relationship Id="rId9" Type="http://schemas.openxmlformats.org/officeDocument/2006/relationships/slideLayout" Target="../slideLayouts/slideLayout406.xml"/><Relationship Id="rId14" Type="http://schemas.openxmlformats.org/officeDocument/2006/relationships/slideLayout" Target="../slideLayouts/slideLayout411.xml"/><Relationship Id="rId22" Type="http://schemas.openxmlformats.org/officeDocument/2006/relationships/slideLayout" Target="../slideLayouts/slideLayout41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8.xml"/><Relationship Id="rId13" Type="http://schemas.openxmlformats.org/officeDocument/2006/relationships/slideLayout" Target="../slideLayouts/slideLayout433.xml"/><Relationship Id="rId18" Type="http://schemas.openxmlformats.org/officeDocument/2006/relationships/slideLayout" Target="../slideLayouts/slideLayout438.xml"/><Relationship Id="rId3" Type="http://schemas.openxmlformats.org/officeDocument/2006/relationships/slideLayout" Target="../slideLayouts/slideLayout423.xml"/><Relationship Id="rId21" Type="http://schemas.openxmlformats.org/officeDocument/2006/relationships/slideLayout" Target="../slideLayouts/slideLayout441.xml"/><Relationship Id="rId7" Type="http://schemas.openxmlformats.org/officeDocument/2006/relationships/slideLayout" Target="../slideLayouts/slideLayout427.xml"/><Relationship Id="rId12" Type="http://schemas.openxmlformats.org/officeDocument/2006/relationships/slideLayout" Target="../slideLayouts/slideLayout432.xml"/><Relationship Id="rId17" Type="http://schemas.openxmlformats.org/officeDocument/2006/relationships/slideLayout" Target="../slideLayouts/slideLayout437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422.xml"/><Relationship Id="rId16" Type="http://schemas.openxmlformats.org/officeDocument/2006/relationships/slideLayout" Target="../slideLayouts/slideLayout436.xml"/><Relationship Id="rId20" Type="http://schemas.openxmlformats.org/officeDocument/2006/relationships/slideLayout" Target="../slideLayouts/slideLayout440.xml"/><Relationship Id="rId1" Type="http://schemas.openxmlformats.org/officeDocument/2006/relationships/slideLayout" Target="../slideLayouts/slideLayout421.xml"/><Relationship Id="rId6" Type="http://schemas.openxmlformats.org/officeDocument/2006/relationships/slideLayout" Target="../slideLayouts/slideLayout426.xml"/><Relationship Id="rId11" Type="http://schemas.openxmlformats.org/officeDocument/2006/relationships/slideLayout" Target="../slideLayouts/slideLayout431.xml"/><Relationship Id="rId24" Type="http://schemas.openxmlformats.org/officeDocument/2006/relationships/theme" Target="../theme/theme13.xml"/><Relationship Id="rId5" Type="http://schemas.openxmlformats.org/officeDocument/2006/relationships/slideLayout" Target="../slideLayouts/slideLayout425.xml"/><Relationship Id="rId15" Type="http://schemas.openxmlformats.org/officeDocument/2006/relationships/slideLayout" Target="../slideLayouts/slideLayout435.xml"/><Relationship Id="rId23" Type="http://schemas.openxmlformats.org/officeDocument/2006/relationships/slideLayout" Target="../slideLayouts/slideLayout443.xml"/><Relationship Id="rId10" Type="http://schemas.openxmlformats.org/officeDocument/2006/relationships/slideLayout" Target="../slideLayouts/slideLayout430.xml"/><Relationship Id="rId19" Type="http://schemas.openxmlformats.org/officeDocument/2006/relationships/slideLayout" Target="../slideLayouts/slideLayout439.xml"/><Relationship Id="rId4" Type="http://schemas.openxmlformats.org/officeDocument/2006/relationships/slideLayout" Target="../slideLayouts/slideLayout424.xml"/><Relationship Id="rId9" Type="http://schemas.openxmlformats.org/officeDocument/2006/relationships/slideLayout" Target="../slideLayouts/slideLayout429.xml"/><Relationship Id="rId14" Type="http://schemas.openxmlformats.org/officeDocument/2006/relationships/slideLayout" Target="../slideLayouts/slideLayout434.xml"/><Relationship Id="rId22" Type="http://schemas.openxmlformats.org/officeDocument/2006/relationships/slideLayout" Target="../slideLayouts/slideLayout44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1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446.xml"/><Relationship Id="rId7" Type="http://schemas.openxmlformats.org/officeDocument/2006/relationships/slideLayout" Target="../slideLayouts/slideLayout450.xml"/><Relationship Id="rId12" Type="http://schemas.openxmlformats.org/officeDocument/2006/relationships/slideLayout" Target="../slideLayouts/slideLayout455.xml"/><Relationship Id="rId2" Type="http://schemas.openxmlformats.org/officeDocument/2006/relationships/slideLayout" Target="../slideLayouts/slideLayout445.xml"/><Relationship Id="rId1" Type="http://schemas.openxmlformats.org/officeDocument/2006/relationships/slideLayout" Target="../slideLayouts/slideLayout444.xml"/><Relationship Id="rId6" Type="http://schemas.openxmlformats.org/officeDocument/2006/relationships/slideLayout" Target="../slideLayouts/slideLayout449.xml"/><Relationship Id="rId11" Type="http://schemas.openxmlformats.org/officeDocument/2006/relationships/slideLayout" Target="../slideLayouts/slideLayout454.xml"/><Relationship Id="rId5" Type="http://schemas.openxmlformats.org/officeDocument/2006/relationships/slideLayout" Target="../slideLayouts/slideLayout448.xml"/><Relationship Id="rId10" Type="http://schemas.openxmlformats.org/officeDocument/2006/relationships/slideLayout" Target="../slideLayouts/slideLayout453.xml"/><Relationship Id="rId4" Type="http://schemas.openxmlformats.org/officeDocument/2006/relationships/slideLayout" Target="../slideLayouts/slideLayout447.xml"/><Relationship Id="rId9" Type="http://schemas.openxmlformats.org/officeDocument/2006/relationships/slideLayout" Target="../slideLayouts/slideLayout45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slideLayout" Target="../slideLayouts/slideLayout468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slideLayout" Target="../slideLayouts/slideLayout467.xml"/><Relationship Id="rId2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slideLayout" Target="../slideLayouts/slideLayout466.xml"/><Relationship Id="rId5" Type="http://schemas.openxmlformats.org/officeDocument/2006/relationships/slideLayout" Target="../slideLayouts/slideLayout460.xml"/><Relationship Id="rId15" Type="http://schemas.openxmlformats.org/officeDocument/2006/relationships/theme" Target="../theme/theme15.xml"/><Relationship Id="rId10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Relationship Id="rId14" Type="http://schemas.openxmlformats.org/officeDocument/2006/relationships/slideLayout" Target="../slideLayouts/slideLayout469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7.xml"/><Relationship Id="rId13" Type="http://schemas.openxmlformats.org/officeDocument/2006/relationships/slideLayout" Target="../slideLayouts/slideLayout482.xml"/><Relationship Id="rId3" Type="http://schemas.openxmlformats.org/officeDocument/2006/relationships/slideLayout" Target="../slideLayouts/slideLayout472.xml"/><Relationship Id="rId7" Type="http://schemas.openxmlformats.org/officeDocument/2006/relationships/slideLayout" Target="../slideLayouts/slideLayout476.xml"/><Relationship Id="rId12" Type="http://schemas.openxmlformats.org/officeDocument/2006/relationships/slideLayout" Target="../slideLayouts/slideLayout481.xml"/><Relationship Id="rId2" Type="http://schemas.openxmlformats.org/officeDocument/2006/relationships/slideLayout" Target="../slideLayouts/slideLayout471.xml"/><Relationship Id="rId1" Type="http://schemas.openxmlformats.org/officeDocument/2006/relationships/slideLayout" Target="../slideLayouts/slideLayout470.xml"/><Relationship Id="rId6" Type="http://schemas.openxmlformats.org/officeDocument/2006/relationships/slideLayout" Target="../slideLayouts/slideLayout475.xml"/><Relationship Id="rId11" Type="http://schemas.openxmlformats.org/officeDocument/2006/relationships/slideLayout" Target="../slideLayouts/slideLayout480.xml"/><Relationship Id="rId5" Type="http://schemas.openxmlformats.org/officeDocument/2006/relationships/slideLayout" Target="../slideLayouts/slideLayout474.xml"/><Relationship Id="rId15" Type="http://schemas.openxmlformats.org/officeDocument/2006/relationships/theme" Target="../theme/theme16.xml"/><Relationship Id="rId10" Type="http://schemas.openxmlformats.org/officeDocument/2006/relationships/slideLayout" Target="../slideLayouts/slideLayout479.xml"/><Relationship Id="rId4" Type="http://schemas.openxmlformats.org/officeDocument/2006/relationships/slideLayout" Target="../slideLayouts/slideLayout473.xml"/><Relationship Id="rId9" Type="http://schemas.openxmlformats.org/officeDocument/2006/relationships/slideLayout" Target="../slideLayouts/slideLayout478.xml"/><Relationship Id="rId14" Type="http://schemas.openxmlformats.org/officeDocument/2006/relationships/slideLayout" Target="../slideLayouts/slideLayout48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34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55.xml"/><Relationship Id="rId38" Type="http://schemas.openxmlformats.org/officeDocument/2006/relationships/theme" Target="../theme/theme5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29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slideLayout" Target="../slideLayouts/slideLayout154.xml"/><Relationship Id="rId37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36" Type="http://schemas.openxmlformats.org/officeDocument/2006/relationships/slideLayout" Target="../slideLayouts/slideLayout158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30" Type="http://schemas.openxmlformats.org/officeDocument/2006/relationships/slideLayout" Target="../slideLayouts/slideLayout152.xml"/><Relationship Id="rId35" Type="http://schemas.openxmlformats.org/officeDocument/2006/relationships/slideLayout" Target="../slideLayouts/slideLayout1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18" Type="http://schemas.openxmlformats.org/officeDocument/2006/relationships/slideLayout" Target="../slideLayouts/slideLayout177.xml"/><Relationship Id="rId26" Type="http://schemas.openxmlformats.org/officeDocument/2006/relationships/slideLayout" Target="../slideLayouts/slideLayout185.xml"/><Relationship Id="rId39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80.xml"/><Relationship Id="rId34" Type="http://schemas.openxmlformats.org/officeDocument/2006/relationships/slideLayout" Target="../slideLayouts/slideLayout193.xml"/><Relationship Id="rId42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17" Type="http://schemas.openxmlformats.org/officeDocument/2006/relationships/slideLayout" Target="../slideLayouts/slideLayout176.xml"/><Relationship Id="rId25" Type="http://schemas.openxmlformats.org/officeDocument/2006/relationships/slideLayout" Target="../slideLayouts/slideLayout184.xml"/><Relationship Id="rId33" Type="http://schemas.openxmlformats.org/officeDocument/2006/relationships/slideLayout" Target="../slideLayouts/slideLayout192.xml"/><Relationship Id="rId38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61.xml"/><Relationship Id="rId16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179.xml"/><Relationship Id="rId29" Type="http://schemas.openxmlformats.org/officeDocument/2006/relationships/slideLayout" Target="../slideLayouts/slideLayout188.xml"/><Relationship Id="rId41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24" Type="http://schemas.openxmlformats.org/officeDocument/2006/relationships/slideLayout" Target="../slideLayouts/slideLayout183.xml"/><Relationship Id="rId32" Type="http://schemas.openxmlformats.org/officeDocument/2006/relationships/slideLayout" Target="../slideLayouts/slideLayout191.xml"/><Relationship Id="rId37" Type="http://schemas.openxmlformats.org/officeDocument/2006/relationships/slideLayout" Target="../slideLayouts/slideLayout196.xml"/><Relationship Id="rId40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64.xml"/><Relationship Id="rId15" Type="http://schemas.openxmlformats.org/officeDocument/2006/relationships/slideLayout" Target="../slideLayouts/slideLayout174.xml"/><Relationship Id="rId23" Type="http://schemas.openxmlformats.org/officeDocument/2006/relationships/slideLayout" Target="../slideLayouts/slideLayout182.xml"/><Relationship Id="rId28" Type="http://schemas.openxmlformats.org/officeDocument/2006/relationships/slideLayout" Target="../slideLayouts/slideLayout187.xml"/><Relationship Id="rId36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169.xml"/><Relationship Id="rId19" Type="http://schemas.openxmlformats.org/officeDocument/2006/relationships/slideLayout" Target="../slideLayouts/slideLayout178.xml"/><Relationship Id="rId31" Type="http://schemas.openxmlformats.org/officeDocument/2006/relationships/slideLayout" Target="../slideLayouts/slideLayout190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slideLayout" Target="../slideLayouts/slideLayout173.xml"/><Relationship Id="rId22" Type="http://schemas.openxmlformats.org/officeDocument/2006/relationships/slideLayout" Target="../slideLayouts/slideLayout181.xml"/><Relationship Id="rId27" Type="http://schemas.openxmlformats.org/officeDocument/2006/relationships/slideLayout" Target="../slideLayouts/slideLayout186.xml"/><Relationship Id="rId30" Type="http://schemas.openxmlformats.org/officeDocument/2006/relationships/slideLayout" Target="../slideLayouts/slideLayout189.xml"/><Relationship Id="rId35" Type="http://schemas.openxmlformats.org/officeDocument/2006/relationships/slideLayout" Target="../slideLayouts/slideLayout194.xml"/><Relationship Id="rId43" Type="http://schemas.openxmlformats.org/officeDocument/2006/relationships/slideLayout" Target="../slideLayouts/slideLayout20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slideLayout" Target="../slideLayouts/slideLayout215.xml"/><Relationship Id="rId18" Type="http://schemas.openxmlformats.org/officeDocument/2006/relationships/slideLayout" Target="../slideLayouts/slideLayout220.xml"/><Relationship Id="rId26" Type="http://schemas.openxmlformats.org/officeDocument/2006/relationships/slideLayout" Target="../slideLayouts/slideLayout228.xml"/><Relationship Id="rId39" Type="http://schemas.openxmlformats.org/officeDocument/2006/relationships/slideLayout" Target="../slideLayouts/slideLayout241.xml"/><Relationship Id="rId3" Type="http://schemas.openxmlformats.org/officeDocument/2006/relationships/slideLayout" Target="../slideLayouts/slideLayout205.xml"/><Relationship Id="rId21" Type="http://schemas.openxmlformats.org/officeDocument/2006/relationships/slideLayout" Target="../slideLayouts/slideLayout223.xml"/><Relationship Id="rId34" Type="http://schemas.openxmlformats.org/officeDocument/2006/relationships/slideLayout" Target="../slideLayouts/slideLayout236.xml"/><Relationship Id="rId42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14.xml"/><Relationship Id="rId17" Type="http://schemas.openxmlformats.org/officeDocument/2006/relationships/slideLayout" Target="../slideLayouts/slideLayout219.xml"/><Relationship Id="rId25" Type="http://schemas.openxmlformats.org/officeDocument/2006/relationships/slideLayout" Target="../slideLayouts/slideLayout227.xml"/><Relationship Id="rId33" Type="http://schemas.openxmlformats.org/officeDocument/2006/relationships/slideLayout" Target="../slideLayouts/slideLayout235.xml"/><Relationship Id="rId38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04.xml"/><Relationship Id="rId16" Type="http://schemas.openxmlformats.org/officeDocument/2006/relationships/slideLayout" Target="../slideLayouts/slideLayout218.xml"/><Relationship Id="rId20" Type="http://schemas.openxmlformats.org/officeDocument/2006/relationships/slideLayout" Target="../slideLayouts/slideLayout222.xml"/><Relationship Id="rId29" Type="http://schemas.openxmlformats.org/officeDocument/2006/relationships/slideLayout" Target="../slideLayouts/slideLayout231.xml"/><Relationship Id="rId41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24" Type="http://schemas.openxmlformats.org/officeDocument/2006/relationships/slideLayout" Target="../slideLayouts/slideLayout226.xml"/><Relationship Id="rId32" Type="http://schemas.openxmlformats.org/officeDocument/2006/relationships/slideLayout" Target="../slideLayouts/slideLayout234.xml"/><Relationship Id="rId37" Type="http://schemas.openxmlformats.org/officeDocument/2006/relationships/slideLayout" Target="../slideLayouts/slideLayout239.xml"/><Relationship Id="rId40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07.xml"/><Relationship Id="rId15" Type="http://schemas.openxmlformats.org/officeDocument/2006/relationships/slideLayout" Target="../slideLayouts/slideLayout217.xml"/><Relationship Id="rId23" Type="http://schemas.openxmlformats.org/officeDocument/2006/relationships/slideLayout" Target="../slideLayouts/slideLayout225.xml"/><Relationship Id="rId28" Type="http://schemas.openxmlformats.org/officeDocument/2006/relationships/slideLayout" Target="../slideLayouts/slideLayout230.xml"/><Relationship Id="rId36" Type="http://schemas.openxmlformats.org/officeDocument/2006/relationships/slideLayout" Target="../slideLayouts/slideLayout238.xml"/><Relationship Id="rId10" Type="http://schemas.openxmlformats.org/officeDocument/2006/relationships/slideLayout" Target="../slideLayouts/slideLayout212.xml"/><Relationship Id="rId19" Type="http://schemas.openxmlformats.org/officeDocument/2006/relationships/slideLayout" Target="../slideLayouts/slideLayout221.xml"/><Relationship Id="rId31" Type="http://schemas.openxmlformats.org/officeDocument/2006/relationships/slideLayout" Target="../slideLayouts/slideLayout233.xml"/><Relationship Id="rId44" Type="http://schemas.openxmlformats.org/officeDocument/2006/relationships/theme" Target="../theme/theme7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Relationship Id="rId14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24.xml"/><Relationship Id="rId27" Type="http://schemas.openxmlformats.org/officeDocument/2006/relationships/slideLayout" Target="../slideLayouts/slideLayout229.xml"/><Relationship Id="rId30" Type="http://schemas.openxmlformats.org/officeDocument/2006/relationships/slideLayout" Target="../slideLayouts/slideLayout232.xml"/><Relationship Id="rId35" Type="http://schemas.openxmlformats.org/officeDocument/2006/relationships/slideLayout" Target="../slideLayouts/slideLayout237.xml"/><Relationship Id="rId43" Type="http://schemas.openxmlformats.org/officeDocument/2006/relationships/slideLayout" Target="../slideLayouts/slideLayout24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slideLayout" Target="../slideLayouts/slideLayout258.xml"/><Relationship Id="rId18" Type="http://schemas.openxmlformats.org/officeDocument/2006/relationships/slideLayout" Target="../slideLayouts/slideLayout263.xml"/><Relationship Id="rId26" Type="http://schemas.openxmlformats.org/officeDocument/2006/relationships/slideLayout" Target="../slideLayouts/slideLayout271.xml"/><Relationship Id="rId39" Type="http://schemas.openxmlformats.org/officeDocument/2006/relationships/slideLayout" Target="../slideLayouts/slideLayout284.xml"/><Relationship Id="rId3" Type="http://schemas.openxmlformats.org/officeDocument/2006/relationships/slideLayout" Target="../slideLayouts/slideLayout248.xml"/><Relationship Id="rId21" Type="http://schemas.openxmlformats.org/officeDocument/2006/relationships/slideLayout" Target="../slideLayouts/slideLayout266.xml"/><Relationship Id="rId34" Type="http://schemas.openxmlformats.org/officeDocument/2006/relationships/slideLayout" Target="../slideLayouts/slideLayout279.xml"/><Relationship Id="rId42" Type="http://schemas.openxmlformats.org/officeDocument/2006/relationships/slideLayout" Target="../slideLayouts/slideLayout287.xml"/><Relationship Id="rId7" Type="http://schemas.openxmlformats.org/officeDocument/2006/relationships/slideLayout" Target="../slideLayouts/slideLayout252.xml"/><Relationship Id="rId12" Type="http://schemas.openxmlformats.org/officeDocument/2006/relationships/slideLayout" Target="../slideLayouts/slideLayout257.xml"/><Relationship Id="rId17" Type="http://schemas.openxmlformats.org/officeDocument/2006/relationships/slideLayout" Target="../slideLayouts/slideLayout262.xml"/><Relationship Id="rId25" Type="http://schemas.openxmlformats.org/officeDocument/2006/relationships/slideLayout" Target="../slideLayouts/slideLayout270.xml"/><Relationship Id="rId33" Type="http://schemas.openxmlformats.org/officeDocument/2006/relationships/slideLayout" Target="../slideLayouts/slideLayout278.xml"/><Relationship Id="rId38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47.xml"/><Relationship Id="rId16" Type="http://schemas.openxmlformats.org/officeDocument/2006/relationships/slideLayout" Target="../slideLayouts/slideLayout261.xml"/><Relationship Id="rId20" Type="http://schemas.openxmlformats.org/officeDocument/2006/relationships/slideLayout" Target="../slideLayouts/slideLayout265.xml"/><Relationship Id="rId29" Type="http://schemas.openxmlformats.org/officeDocument/2006/relationships/slideLayout" Target="../slideLayouts/slideLayout274.xml"/><Relationship Id="rId41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24" Type="http://schemas.openxmlformats.org/officeDocument/2006/relationships/slideLayout" Target="../slideLayouts/slideLayout269.xml"/><Relationship Id="rId32" Type="http://schemas.openxmlformats.org/officeDocument/2006/relationships/slideLayout" Target="../slideLayouts/slideLayout277.xml"/><Relationship Id="rId37" Type="http://schemas.openxmlformats.org/officeDocument/2006/relationships/slideLayout" Target="../slideLayouts/slideLayout282.xml"/><Relationship Id="rId40" Type="http://schemas.openxmlformats.org/officeDocument/2006/relationships/slideLayout" Target="../slideLayouts/slideLayout285.xml"/><Relationship Id="rId5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60.xml"/><Relationship Id="rId23" Type="http://schemas.openxmlformats.org/officeDocument/2006/relationships/slideLayout" Target="../slideLayouts/slideLayout268.xml"/><Relationship Id="rId28" Type="http://schemas.openxmlformats.org/officeDocument/2006/relationships/slideLayout" Target="../slideLayouts/slideLayout273.xml"/><Relationship Id="rId36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55.xml"/><Relationship Id="rId19" Type="http://schemas.openxmlformats.org/officeDocument/2006/relationships/slideLayout" Target="../slideLayouts/slideLayout264.xml"/><Relationship Id="rId31" Type="http://schemas.openxmlformats.org/officeDocument/2006/relationships/slideLayout" Target="../slideLayouts/slideLayout276.xml"/><Relationship Id="rId44" Type="http://schemas.openxmlformats.org/officeDocument/2006/relationships/theme" Target="../theme/theme8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slideLayout" Target="../slideLayouts/slideLayout259.xml"/><Relationship Id="rId22" Type="http://schemas.openxmlformats.org/officeDocument/2006/relationships/slideLayout" Target="../slideLayouts/slideLayout267.xml"/><Relationship Id="rId27" Type="http://schemas.openxmlformats.org/officeDocument/2006/relationships/slideLayout" Target="../slideLayouts/slideLayout272.xml"/><Relationship Id="rId30" Type="http://schemas.openxmlformats.org/officeDocument/2006/relationships/slideLayout" Target="../slideLayouts/slideLayout275.xml"/><Relationship Id="rId35" Type="http://schemas.openxmlformats.org/officeDocument/2006/relationships/slideLayout" Target="../slideLayouts/slideLayout280.xml"/><Relationship Id="rId43" Type="http://schemas.openxmlformats.org/officeDocument/2006/relationships/slideLayout" Target="../slideLayouts/slideLayout28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301.xml"/><Relationship Id="rId18" Type="http://schemas.openxmlformats.org/officeDocument/2006/relationships/slideLayout" Target="../slideLayouts/slideLayout306.xml"/><Relationship Id="rId26" Type="http://schemas.openxmlformats.org/officeDocument/2006/relationships/slideLayout" Target="../slideLayouts/slideLayout314.xml"/><Relationship Id="rId39" Type="http://schemas.openxmlformats.org/officeDocument/2006/relationships/slideLayout" Target="../slideLayouts/slideLayout327.xml"/><Relationship Id="rId3" Type="http://schemas.openxmlformats.org/officeDocument/2006/relationships/slideLayout" Target="../slideLayouts/slideLayout291.xml"/><Relationship Id="rId21" Type="http://schemas.openxmlformats.org/officeDocument/2006/relationships/slideLayout" Target="../slideLayouts/slideLayout309.xml"/><Relationship Id="rId34" Type="http://schemas.openxmlformats.org/officeDocument/2006/relationships/slideLayout" Target="../slideLayouts/slideLayout322.xml"/><Relationship Id="rId42" Type="http://schemas.openxmlformats.org/officeDocument/2006/relationships/slideLayout" Target="../slideLayouts/slideLayout330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17" Type="http://schemas.openxmlformats.org/officeDocument/2006/relationships/slideLayout" Target="../slideLayouts/slideLayout305.xml"/><Relationship Id="rId25" Type="http://schemas.openxmlformats.org/officeDocument/2006/relationships/slideLayout" Target="../slideLayouts/slideLayout313.xml"/><Relationship Id="rId33" Type="http://schemas.openxmlformats.org/officeDocument/2006/relationships/slideLayout" Target="../slideLayouts/slideLayout321.xml"/><Relationship Id="rId38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290.xml"/><Relationship Id="rId16" Type="http://schemas.openxmlformats.org/officeDocument/2006/relationships/slideLayout" Target="../slideLayouts/slideLayout304.xml"/><Relationship Id="rId20" Type="http://schemas.openxmlformats.org/officeDocument/2006/relationships/slideLayout" Target="../slideLayouts/slideLayout308.xml"/><Relationship Id="rId29" Type="http://schemas.openxmlformats.org/officeDocument/2006/relationships/slideLayout" Target="../slideLayouts/slideLayout317.xml"/><Relationship Id="rId41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24" Type="http://schemas.openxmlformats.org/officeDocument/2006/relationships/slideLayout" Target="../slideLayouts/slideLayout312.xml"/><Relationship Id="rId32" Type="http://schemas.openxmlformats.org/officeDocument/2006/relationships/slideLayout" Target="../slideLayouts/slideLayout320.xml"/><Relationship Id="rId37" Type="http://schemas.openxmlformats.org/officeDocument/2006/relationships/slideLayout" Target="../slideLayouts/slideLayout325.xml"/><Relationship Id="rId40" Type="http://schemas.openxmlformats.org/officeDocument/2006/relationships/slideLayout" Target="../slideLayouts/slideLayout328.xml"/><Relationship Id="rId5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3.xml"/><Relationship Id="rId23" Type="http://schemas.openxmlformats.org/officeDocument/2006/relationships/slideLayout" Target="../slideLayouts/slideLayout311.xml"/><Relationship Id="rId28" Type="http://schemas.openxmlformats.org/officeDocument/2006/relationships/slideLayout" Target="../slideLayouts/slideLayout316.xml"/><Relationship Id="rId36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298.xml"/><Relationship Id="rId19" Type="http://schemas.openxmlformats.org/officeDocument/2006/relationships/slideLayout" Target="../slideLayouts/slideLayout307.xml"/><Relationship Id="rId31" Type="http://schemas.openxmlformats.org/officeDocument/2006/relationships/slideLayout" Target="../slideLayouts/slideLayout319.xml"/><Relationship Id="rId44" Type="http://schemas.openxmlformats.org/officeDocument/2006/relationships/theme" Target="../theme/theme9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Relationship Id="rId14" Type="http://schemas.openxmlformats.org/officeDocument/2006/relationships/slideLayout" Target="../slideLayouts/slideLayout302.xml"/><Relationship Id="rId22" Type="http://schemas.openxmlformats.org/officeDocument/2006/relationships/slideLayout" Target="../slideLayouts/slideLayout310.xml"/><Relationship Id="rId27" Type="http://schemas.openxmlformats.org/officeDocument/2006/relationships/slideLayout" Target="../slideLayouts/slideLayout315.xml"/><Relationship Id="rId30" Type="http://schemas.openxmlformats.org/officeDocument/2006/relationships/slideLayout" Target="../slideLayouts/slideLayout318.xml"/><Relationship Id="rId35" Type="http://schemas.openxmlformats.org/officeDocument/2006/relationships/slideLayout" Target="../slideLayouts/slideLayout323.xml"/><Relationship Id="rId43" Type="http://schemas.openxmlformats.org/officeDocument/2006/relationships/slideLayout" Target="../slideLayouts/slideLayout3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15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C9E8E4-1E96-474D-87ED-B77838A4D973}" type="slidenum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209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  <p:sldLayoutId id="2147484085" r:id="rId15"/>
    <p:sldLayoutId id="2147484086" r:id="rId16"/>
    <p:sldLayoutId id="2147484087" r:id="rId17"/>
    <p:sldLayoutId id="2147484088" r:id="rId18"/>
    <p:sldLayoutId id="2147484089" r:id="rId19"/>
    <p:sldLayoutId id="2147484090" r:id="rId20"/>
    <p:sldLayoutId id="2147484091" r:id="rId21"/>
    <p:sldLayoutId id="2147484092" r:id="rId22"/>
    <p:sldLayoutId id="2147484093" r:id="rId23"/>
    <p:sldLayoutId id="2147484094" r:id="rId24"/>
    <p:sldLayoutId id="2147484095" r:id="rId25"/>
    <p:sldLayoutId id="2147484096" r:id="rId26"/>
    <p:sldLayoutId id="2147484097" r:id="rId27"/>
    <p:sldLayoutId id="2147484098" r:id="rId28"/>
    <p:sldLayoutId id="2147484099" r:id="rId29"/>
    <p:sldLayoutId id="2147484100" r:id="rId30"/>
    <p:sldLayoutId id="2147484101" r:id="rId31"/>
    <p:sldLayoutId id="2147484102" r:id="rId32"/>
    <p:sldLayoutId id="2147484103" r:id="rId33"/>
    <p:sldLayoutId id="2147484104" r:id="rId34"/>
    <p:sldLayoutId id="2147484105" r:id="rId35"/>
    <p:sldLayoutId id="2147484106" r:id="rId36"/>
    <p:sldLayoutId id="2147484107" r:id="rId37"/>
    <p:sldLayoutId id="2147484108" r:id="rId38"/>
    <p:sldLayoutId id="2147484109" r:id="rId39"/>
    <p:sldLayoutId id="2147484110" r:id="rId40"/>
    <p:sldLayoutId id="2147484111" r:id="rId41"/>
    <p:sldLayoutId id="2147484112" r:id="rId42"/>
    <p:sldLayoutId id="2147484113" r:id="rId4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6 Imagen" descr="Dibujo.bmp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0" y="0"/>
            <a:ext cx="9144000" cy="7010400"/>
          </a:xfrm>
          <a:prstGeom prst="rect">
            <a:avLst/>
          </a:prstGeom>
          <a:gradFill flip="none" rotWithShape="1">
            <a:gsLst>
              <a:gs pos="100000">
                <a:srgbClr val="03D4A8">
                  <a:alpha val="18000"/>
                </a:srgbClr>
              </a:gs>
              <a:gs pos="25000">
                <a:srgbClr val="21D6E0">
                  <a:alpha val="23000"/>
                </a:srgbClr>
              </a:gs>
              <a:gs pos="75000">
                <a:srgbClr val="0087E6">
                  <a:alpha val="25000"/>
                </a:srgbClr>
              </a:gs>
              <a:gs pos="100000">
                <a:srgbClr val="005CBF">
                  <a:alpha val="25999"/>
                </a:srgbClr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8233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  <p:sldLayoutId id="2147484170" r:id="rId12"/>
    <p:sldLayoutId id="2147484171" r:id="rId13"/>
    <p:sldLayoutId id="2147484172" r:id="rId14"/>
    <p:sldLayoutId id="2147484173" r:id="rId15"/>
    <p:sldLayoutId id="2147484174" r:id="rId16"/>
    <p:sldLayoutId id="2147484175" r:id="rId17"/>
    <p:sldLayoutId id="2147484176" r:id="rId18"/>
    <p:sldLayoutId id="2147484177" r:id="rId19"/>
    <p:sldLayoutId id="2147484178" r:id="rId20"/>
    <p:sldLayoutId id="2147484179" r:id="rId21"/>
    <p:sldLayoutId id="2147484180" r:id="rId22"/>
    <p:sldLayoutId id="2147484181" r:id="rId2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6 Imagen" descr="Dibujo.bmp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0" y="0"/>
            <a:ext cx="9144000" cy="7010400"/>
          </a:xfrm>
          <a:prstGeom prst="rect">
            <a:avLst/>
          </a:prstGeom>
          <a:gradFill flip="none" rotWithShape="1">
            <a:gsLst>
              <a:gs pos="100000">
                <a:srgbClr val="03D4A8">
                  <a:alpha val="18000"/>
                </a:srgbClr>
              </a:gs>
              <a:gs pos="25000">
                <a:srgbClr val="21D6E0">
                  <a:alpha val="23000"/>
                </a:srgbClr>
              </a:gs>
              <a:gs pos="75000">
                <a:srgbClr val="0087E6">
                  <a:alpha val="25000"/>
                </a:srgbClr>
              </a:gs>
              <a:gs pos="100000">
                <a:srgbClr val="005CBF">
                  <a:alpha val="25999"/>
                </a:srgbClr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055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  <p:sldLayoutId id="2147484194" r:id="rId12"/>
    <p:sldLayoutId id="2147484195" r:id="rId13"/>
    <p:sldLayoutId id="2147484196" r:id="rId14"/>
    <p:sldLayoutId id="2147484197" r:id="rId15"/>
    <p:sldLayoutId id="2147484198" r:id="rId16"/>
    <p:sldLayoutId id="2147484199" r:id="rId17"/>
    <p:sldLayoutId id="2147484200" r:id="rId18"/>
    <p:sldLayoutId id="2147484201" r:id="rId19"/>
    <p:sldLayoutId id="2147484202" r:id="rId20"/>
    <p:sldLayoutId id="2147484203" r:id="rId21"/>
    <p:sldLayoutId id="2147484204" r:id="rId22"/>
    <p:sldLayoutId id="2147484205" r:id="rId2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D49CB13-F59C-412B-AADE-962DA768D20F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5.10.2021</a:t>
            </a:fld>
            <a:endParaRPr lang="ru-RU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41AF70C-0C84-4356-818A-0D1070CDD829}" type="slidenum">
              <a:rPr lang="ru-RU" alt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6 Imagen" descr="Dibujo.bmp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0" y="0"/>
            <a:ext cx="9144000" cy="7010400"/>
          </a:xfrm>
          <a:prstGeom prst="rect">
            <a:avLst/>
          </a:prstGeom>
          <a:gradFill flip="none" rotWithShape="1">
            <a:gsLst>
              <a:gs pos="100000">
                <a:srgbClr val="03D4A8">
                  <a:alpha val="18000"/>
                </a:srgbClr>
              </a:gs>
              <a:gs pos="25000">
                <a:srgbClr val="21D6E0">
                  <a:alpha val="23000"/>
                </a:srgbClr>
              </a:gs>
              <a:gs pos="75000">
                <a:srgbClr val="0087E6">
                  <a:alpha val="25000"/>
                </a:srgbClr>
              </a:gs>
              <a:gs pos="100000">
                <a:srgbClr val="005CBF">
                  <a:alpha val="25999"/>
                </a:srgbClr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651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  <p:sldLayoutId id="2147484289" r:id="rId11"/>
    <p:sldLayoutId id="2147484290" r:id="rId12"/>
    <p:sldLayoutId id="2147484291" r:id="rId13"/>
    <p:sldLayoutId id="2147484292" r:id="rId14"/>
    <p:sldLayoutId id="2147484293" r:id="rId15"/>
    <p:sldLayoutId id="2147484294" r:id="rId16"/>
    <p:sldLayoutId id="2147484295" r:id="rId17"/>
    <p:sldLayoutId id="2147484296" r:id="rId18"/>
    <p:sldLayoutId id="2147484297" r:id="rId19"/>
    <p:sldLayoutId id="2147484298" r:id="rId20"/>
    <p:sldLayoutId id="2147484299" r:id="rId21"/>
    <p:sldLayoutId id="2147484300" r:id="rId22"/>
    <p:sldLayoutId id="2147484301" r:id="rId2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5157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CF459E4-D700-4752-954B-B32EF441499A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1028" name="Group 4"/>
          <p:cNvGrpSpPr>
            <a:grpSpLocks/>
          </p:cNvGrpSpPr>
          <p:nvPr/>
        </p:nvGrpSpPr>
        <p:grpSpPr bwMode="auto">
          <a:xfrm>
            <a:off x="0" y="0"/>
            <a:ext cx="9140825" cy="6850063"/>
            <a:chOff x="0" y="0"/>
            <a:chExt cx="5758" cy="4315"/>
          </a:xfrm>
        </p:grpSpPr>
        <p:grpSp>
          <p:nvGrpSpPr>
            <p:cNvPr id="1032" name="Group 5"/>
            <p:cNvGrpSpPr>
              <a:grpSpLocks/>
            </p:cNvGrpSpPr>
            <p:nvPr userDrawn="1"/>
          </p:nvGrpSpPr>
          <p:grpSpPr bwMode="auto">
            <a:xfrm>
              <a:off x="1728" y="2230"/>
              <a:ext cx="4027" cy="2085"/>
              <a:chOff x="1728" y="2230"/>
              <a:chExt cx="4027" cy="2085"/>
            </a:xfrm>
          </p:grpSpPr>
          <p:sp>
            <p:nvSpPr>
              <p:cNvPr id="7174" name="Freeform 6"/>
              <p:cNvSpPr>
                <a:spLocks/>
              </p:cNvSpPr>
              <p:nvPr/>
            </p:nvSpPr>
            <p:spPr bwMode="hidden">
              <a:xfrm>
                <a:off x="1728" y="2644"/>
                <a:ext cx="2882" cy="1671"/>
              </a:xfrm>
              <a:custGeom>
                <a:avLst/>
                <a:gdLst>
                  <a:gd name="T0" fmla="*/ 2740 w 2882"/>
                  <a:gd name="T1" fmla="*/ 528 h 1671"/>
                  <a:gd name="T2" fmla="*/ 2632 w 2882"/>
                  <a:gd name="T3" fmla="*/ 484 h 1671"/>
                  <a:gd name="T4" fmla="*/ 2480 w 2882"/>
                  <a:gd name="T5" fmla="*/ 424 h 1671"/>
                  <a:gd name="T6" fmla="*/ 2203 w 2882"/>
                  <a:gd name="T7" fmla="*/ 343 h 1671"/>
                  <a:gd name="T8" fmla="*/ 1970 w 2882"/>
                  <a:gd name="T9" fmla="*/ 277 h 1671"/>
                  <a:gd name="T10" fmla="*/ 1807 w 2882"/>
                  <a:gd name="T11" fmla="*/ 212 h 1671"/>
                  <a:gd name="T12" fmla="*/ 1693 w 2882"/>
                  <a:gd name="T13" fmla="*/ 152 h 1671"/>
                  <a:gd name="T14" fmla="*/ 1628 w 2882"/>
                  <a:gd name="T15" fmla="*/ 103 h 1671"/>
                  <a:gd name="T16" fmla="*/ 1590 w 2882"/>
                  <a:gd name="T17" fmla="*/ 60 h 1671"/>
                  <a:gd name="T18" fmla="*/ 1579 w 2882"/>
                  <a:gd name="T19" fmla="*/ 27 h 1671"/>
                  <a:gd name="T20" fmla="*/ 1585 w 2882"/>
                  <a:gd name="T21" fmla="*/ 0 h 1671"/>
                  <a:gd name="T22" fmla="*/ 1557 w 2882"/>
                  <a:gd name="T23" fmla="*/ 49 h 1671"/>
                  <a:gd name="T24" fmla="*/ 1568 w 2882"/>
                  <a:gd name="T25" fmla="*/ 98 h 1671"/>
                  <a:gd name="T26" fmla="*/ 1617 w 2882"/>
                  <a:gd name="T27" fmla="*/ 141 h 1671"/>
                  <a:gd name="T28" fmla="*/ 1688 w 2882"/>
                  <a:gd name="T29" fmla="*/ 185 h 1671"/>
                  <a:gd name="T30" fmla="*/ 1791 w 2882"/>
                  <a:gd name="T31" fmla="*/ 228 h 1671"/>
                  <a:gd name="T32" fmla="*/ 2040 w 2882"/>
                  <a:gd name="T33" fmla="*/ 310 h 1671"/>
                  <a:gd name="T34" fmla="*/ 2285 w 2882"/>
                  <a:gd name="T35" fmla="*/ 381 h 1671"/>
                  <a:gd name="T36" fmla="*/ 2464 w 2882"/>
                  <a:gd name="T37" fmla="*/ 435 h 1671"/>
                  <a:gd name="T38" fmla="*/ 2605 w 2882"/>
                  <a:gd name="T39" fmla="*/ 484 h 1671"/>
                  <a:gd name="T40" fmla="*/ 2708 w 2882"/>
                  <a:gd name="T41" fmla="*/ 528 h 1671"/>
                  <a:gd name="T42" fmla="*/ 2768 w 2882"/>
                  <a:gd name="T43" fmla="*/ 560 h 1671"/>
                  <a:gd name="T44" fmla="*/ 2795 w 2882"/>
                  <a:gd name="T45" fmla="*/ 593 h 1671"/>
                  <a:gd name="T46" fmla="*/ 2795 w 2882"/>
                  <a:gd name="T47" fmla="*/ 642 h 1671"/>
                  <a:gd name="T48" fmla="*/ 2762 w 2882"/>
                  <a:gd name="T49" fmla="*/ 691 h 1671"/>
                  <a:gd name="T50" fmla="*/ 2692 w 2882"/>
                  <a:gd name="T51" fmla="*/ 735 h 1671"/>
                  <a:gd name="T52" fmla="*/ 2589 w 2882"/>
                  <a:gd name="T53" fmla="*/ 778 h 1671"/>
                  <a:gd name="T54" fmla="*/ 2458 w 2882"/>
                  <a:gd name="T55" fmla="*/ 822 h 1671"/>
                  <a:gd name="T56" fmla="*/ 2301 w 2882"/>
                  <a:gd name="T57" fmla="*/ 865 h 1671"/>
                  <a:gd name="T58" fmla="*/ 2030 w 2882"/>
                  <a:gd name="T59" fmla="*/ 930 h 1671"/>
                  <a:gd name="T60" fmla="*/ 1606 w 2882"/>
                  <a:gd name="T61" fmla="*/ 1034 h 1671"/>
                  <a:gd name="T62" fmla="*/ 1145 w 2882"/>
                  <a:gd name="T63" fmla="*/ 1164 h 1671"/>
                  <a:gd name="T64" fmla="*/ 673 w 2882"/>
                  <a:gd name="T65" fmla="*/ 1328 h 1671"/>
                  <a:gd name="T66" fmla="*/ 217 w 2882"/>
                  <a:gd name="T67" fmla="*/ 1545 h 1671"/>
                  <a:gd name="T68" fmla="*/ 353 w 2882"/>
                  <a:gd name="T69" fmla="*/ 1671 h 1671"/>
                  <a:gd name="T70" fmla="*/ 754 w 2882"/>
                  <a:gd name="T71" fmla="*/ 1469 h 1671"/>
                  <a:gd name="T72" fmla="*/ 1145 w 2882"/>
                  <a:gd name="T73" fmla="*/ 1311 h 1671"/>
                  <a:gd name="T74" fmla="*/ 1519 w 2882"/>
                  <a:gd name="T75" fmla="*/ 1186 h 1671"/>
                  <a:gd name="T76" fmla="*/ 1861 w 2882"/>
                  <a:gd name="T77" fmla="*/ 1083 h 1671"/>
                  <a:gd name="T78" fmla="*/ 2165 w 2882"/>
                  <a:gd name="T79" fmla="*/ 1007 h 1671"/>
                  <a:gd name="T80" fmla="*/ 2426 w 2882"/>
                  <a:gd name="T81" fmla="*/ 947 h 1671"/>
                  <a:gd name="T82" fmla="*/ 2626 w 2882"/>
                  <a:gd name="T83" fmla="*/ 892 h 1671"/>
                  <a:gd name="T84" fmla="*/ 2762 w 2882"/>
                  <a:gd name="T85" fmla="*/ 838 h 1671"/>
                  <a:gd name="T86" fmla="*/ 2827 w 2882"/>
                  <a:gd name="T87" fmla="*/ 794 h 1671"/>
                  <a:gd name="T88" fmla="*/ 2865 w 2882"/>
                  <a:gd name="T89" fmla="*/ 745 h 1671"/>
                  <a:gd name="T90" fmla="*/ 2882 w 2882"/>
                  <a:gd name="T91" fmla="*/ 702 h 1671"/>
                  <a:gd name="T92" fmla="*/ 2854 w 2882"/>
                  <a:gd name="T93" fmla="*/ 620 h 1671"/>
                  <a:gd name="T94" fmla="*/ 2800 w 2882"/>
                  <a:gd name="T95" fmla="*/ 560 h 1671"/>
                  <a:gd name="T96" fmla="*/ 2773 w 2882"/>
                  <a:gd name="T97" fmla="*/ 544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82" h="1671">
                    <a:moveTo>
                      <a:pt x="2773" y="544"/>
                    </a:moveTo>
                    <a:lnTo>
                      <a:pt x="2740" y="528"/>
                    </a:lnTo>
                    <a:lnTo>
                      <a:pt x="2692" y="506"/>
                    </a:lnTo>
                    <a:lnTo>
                      <a:pt x="2632" y="484"/>
                    </a:lnTo>
                    <a:lnTo>
                      <a:pt x="2561" y="457"/>
                    </a:lnTo>
                    <a:lnTo>
                      <a:pt x="2480" y="424"/>
                    </a:lnTo>
                    <a:lnTo>
                      <a:pt x="2388" y="397"/>
                    </a:lnTo>
                    <a:lnTo>
                      <a:pt x="2203" y="343"/>
                    </a:lnTo>
                    <a:lnTo>
                      <a:pt x="2078" y="310"/>
                    </a:lnTo>
                    <a:lnTo>
                      <a:pt x="1970" y="277"/>
                    </a:lnTo>
                    <a:lnTo>
                      <a:pt x="1878" y="245"/>
                    </a:lnTo>
                    <a:lnTo>
                      <a:pt x="1807" y="212"/>
                    </a:lnTo>
                    <a:lnTo>
                      <a:pt x="1742" y="179"/>
                    </a:lnTo>
                    <a:lnTo>
                      <a:pt x="1693" y="152"/>
                    </a:lnTo>
                    <a:lnTo>
                      <a:pt x="1655" y="125"/>
                    </a:lnTo>
                    <a:lnTo>
                      <a:pt x="1628" y="103"/>
                    </a:lnTo>
                    <a:lnTo>
                      <a:pt x="1606" y="81"/>
                    </a:lnTo>
                    <a:lnTo>
                      <a:pt x="1590" y="60"/>
                    </a:lnTo>
                    <a:lnTo>
                      <a:pt x="1585" y="43"/>
                    </a:lnTo>
                    <a:lnTo>
                      <a:pt x="1579" y="27"/>
                    </a:lnTo>
                    <a:lnTo>
                      <a:pt x="1585" y="5"/>
                    </a:lnTo>
                    <a:lnTo>
                      <a:pt x="1585" y="0"/>
                    </a:lnTo>
                    <a:lnTo>
                      <a:pt x="1568" y="27"/>
                    </a:lnTo>
                    <a:lnTo>
                      <a:pt x="1557" y="49"/>
                    </a:lnTo>
                    <a:lnTo>
                      <a:pt x="1557" y="76"/>
                    </a:lnTo>
                    <a:lnTo>
                      <a:pt x="1568" y="98"/>
                    </a:lnTo>
                    <a:lnTo>
                      <a:pt x="1590" y="120"/>
                    </a:lnTo>
                    <a:lnTo>
                      <a:pt x="1617" y="141"/>
                    </a:lnTo>
                    <a:lnTo>
                      <a:pt x="1650" y="163"/>
                    </a:lnTo>
                    <a:lnTo>
                      <a:pt x="1688" y="185"/>
                    </a:lnTo>
                    <a:lnTo>
                      <a:pt x="1737" y="207"/>
                    </a:lnTo>
                    <a:lnTo>
                      <a:pt x="1791" y="228"/>
                    </a:lnTo>
                    <a:lnTo>
                      <a:pt x="1905" y="267"/>
                    </a:lnTo>
                    <a:lnTo>
                      <a:pt x="2040" y="310"/>
                    </a:lnTo>
                    <a:lnTo>
                      <a:pt x="2182" y="348"/>
                    </a:lnTo>
                    <a:lnTo>
                      <a:pt x="2285" y="381"/>
                    </a:lnTo>
                    <a:lnTo>
                      <a:pt x="2382" y="408"/>
                    </a:lnTo>
                    <a:lnTo>
                      <a:pt x="2464" y="435"/>
                    </a:lnTo>
                    <a:lnTo>
                      <a:pt x="2540" y="462"/>
                    </a:lnTo>
                    <a:lnTo>
                      <a:pt x="2605" y="484"/>
                    </a:lnTo>
                    <a:lnTo>
                      <a:pt x="2659" y="506"/>
                    </a:lnTo>
                    <a:lnTo>
                      <a:pt x="2708" y="528"/>
                    </a:lnTo>
                    <a:lnTo>
                      <a:pt x="2740" y="544"/>
                    </a:lnTo>
                    <a:lnTo>
                      <a:pt x="2768" y="560"/>
                    </a:lnTo>
                    <a:lnTo>
                      <a:pt x="2784" y="577"/>
                    </a:lnTo>
                    <a:lnTo>
                      <a:pt x="2795" y="593"/>
                    </a:lnTo>
                    <a:lnTo>
                      <a:pt x="2800" y="615"/>
                    </a:lnTo>
                    <a:lnTo>
                      <a:pt x="2795" y="642"/>
                    </a:lnTo>
                    <a:lnTo>
                      <a:pt x="2784" y="664"/>
                    </a:lnTo>
                    <a:lnTo>
                      <a:pt x="2762" y="691"/>
                    </a:lnTo>
                    <a:lnTo>
                      <a:pt x="2730" y="713"/>
                    </a:lnTo>
                    <a:lnTo>
                      <a:pt x="2692" y="735"/>
                    </a:lnTo>
                    <a:lnTo>
                      <a:pt x="2643" y="756"/>
                    </a:lnTo>
                    <a:lnTo>
                      <a:pt x="2589" y="778"/>
                    </a:lnTo>
                    <a:lnTo>
                      <a:pt x="2529" y="800"/>
                    </a:lnTo>
                    <a:lnTo>
                      <a:pt x="2458" y="822"/>
                    </a:lnTo>
                    <a:lnTo>
                      <a:pt x="2382" y="843"/>
                    </a:lnTo>
                    <a:lnTo>
                      <a:pt x="2301" y="865"/>
                    </a:lnTo>
                    <a:lnTo>
                      <a:pt x="2214" y="887"/>
                    </a:lnTo>
                    <a:lnTo>
                      <a:pt x="2030" y="930"/>
                    </a:lnTo>
                    <a:lnTo>
                      <a:pt x="1823" y="979"/>
                    </a:lnTo>
                    <a:lnTo>
                      <a:pt x="1606" y="1034"/>
                    </a:lnTo>
                    <a:lnTo>
                      <a:pt x="1378" y="1094"/>
                    </a:lnTo>
                    <a:lnTo>
                      <a:pt x="1145" y="1164"/>
                    </a:lnTo>
                    <a:lnTo>
                      <a:pt x="912" y="1241"/>
                    </a:lnTo>
                    <a:lnTo>
                      <a:pt x="673" y="1328"/>
                    </a:lnTo>
                    <a:lnTo>
                      <a:pt x="440" y="1431"/>
                    </a:lnTo>
                    <a:lnTo>
                      <a:pt x="217" y="1545"/>
                    </a:lnTo>
                    <a:lnTo>
                      <a:pt x="0" y="1671"/>
                    </a:lnTo>
                    <a:lnTo>
                      <a:pt x="353" y="1671"/>
                    </a:lnTo>
                    <a:lnTo>
                      <a:pt x="554" y="1567"/>
                    </a:lnTo>
                    <a:lnTo>
                      <a:pt x="754" y="1469"/>
                    </a:lnTo>
                    <a:lnTo>
                      <a:pt x="955" y="1388"/>
                    </a:lnTo>
                    <a:lnTo>
                      <a:pt x="1145" y="1311"/>
                    </a:lnTo>
                    <a:lnTo>
                      <a:pt x="1335" y="1241"/>
                    </a:lnTo>
                    <a:lnTo>
                      <a:pt x="1519" y="1186"/>
                    </a:lnTo>
                    <a:lnTo>
                      <a:pt x="1693" y="1132"/>
                    </a:lnTo>
                    <a:lnTo>
                      <a:pt x="1861" y="1083"/>
                    </a:lnTo>
                    <a:lnTo>
                      <a:pt x="2019" y="1045"/>
                    </a:lnTo>
                    <a:lnTo>
                      <a:pt x="2165" y="1007"/>
                    </a:lnTo>
                    <a:lnTo>
                      <a:pt x="2301" y="974"/>
                    </a:lnTo>
                    <a:lnTo>
                      <a:pt x="2426" y="947"/>
                    </a:lnTo>
                    <a:lnTo>
                      <a:pt x="2534" y="914"/>
                    </a:lnTo>
                    <a:lnTo>
                      <a:pt x="2626" y="892"/>
                    </a:lnTo>
                    <a:lnTo>
                      <a:pt x="2702" y="865"/>
                    </a:lnTo>
                    <a:lnTo>
                      <a:pt x="2762" y="838"/>
                    </a:lnTo>
                    <a:lnTo>
                      <a:pt x="2800" y="816"/>
                    </a:lnTo>
                    <a:lnTo>
                      <a:pt x="2827" y="794"/>
                    </a:lnTo>
                    <a:lnTo>
                      <a:pt x="2849" y="767"/>
                    </a:lnTo>
                    <a:lnTo>
                      <a:pt x="2865" y="745"/>
                    </a:lnTo>
                    <a:lnTo>
                      <a:pt x="2876" y="724"/>
                    </a:lnTo>
                    <a:lnTo>
                      <a:pt x="2882" y="702"/>
                    </a:lnTo>
                    <a:lnTo>
                      <a:pt x="2876" y="658"/>
                    </a:lnTo>
                    <a:lnTo>
                      <a:pt x="2854" y="620"/>
                    </a:lnTo>
                    <a:lnTo>
                      <a:pt x="2833" y="588"/>
                    </a:lnTo>
                    <a:lnTo>
                      <a:pt x="2800" y="560"/>
                    </a:lnTo>
                    <a:lnTo>
                      <a:pt x="2773" y="544"/>
                    </a:lnTo>
                    <a:lnTo>
                      <a:pt x="2773" y="544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  <p:sp>
            <p:nvSpPr>
              <p:cNvPr id="7175" name="Freeform 7"/>
              <p:cNvSpPr>
                <a:spLocks/>
              </p:cNvSpPr>
              <p:nvPr/>
            </p:nvSpPr>
            <p:spPr bwMode="hidden">
              <a:xfrm>
                <a:off x="4170" y="2671"/>
                <a:ext cx="1259" cy="811"/>
              </a:xfrm>
              <a:custGeom>
                <a:avLst/>
                <a:gdLst>
                  <a:gd name="T0" fmla="*/ 1259 w 1259"/>
                  <a:gd name="T1" fmla="*/ 615 h 811"/>
                  <a:gd name="T2" fmla="*/ 1248 w 1259"/>
                  <a:gd name="T3" fmla="*/ 588 h 811"/>
                  <a:gd name="T4" fmla="*/ 1237 w 1259"/>
                  <a:gd name="T5" fmla="*/ 566 h 811"/>
                  <a:gd name="T6" fmla="*/ 1216 w 1259"/>
                  <a:gd name="T7" fmla="*/ 539 h 811"/>
                  <a:gd name="T8" fmla="*/ 1188 w 1259"/>
                  <a:gd name="T9" fmla="*/ 517 h 811"/>
                  <a:gd name="T10" fmla="*/ 1123 w 1259"/>
                  <a:gd name="T11" fmla="*/ 479 h 811"/>
                  <a:gd name="T12" fmla="*/ 1042 w 1259"/>
                  <a:gd name="T13" fmla="*/ 441 h 811"/>
                  <a:gd name="T14" fmla="*/ 944 w 1259"/>
                  <a:gd name="T15" fmla="*/ 408 h 811"/>
                  <a:gd name="T16" fmla="*/ 841 w 1259"/>
                  <a:gd name="T17" fmla="*/ 381 h 811"/>
                  <a:gd name="T18" fmla="*/ 727 w 1259"/>
                  <a:gd name="T19" fmla="*/ 348 h 811"/>
                  <a:gd name="T20" fmla="*/ 613 w 1259"/>
                  <a:gd name="T21" fmla="*/ 321 h 811"/>
                  <a:gd name="T22" fmla="*/ 499 w 1259"/>
                  <a:gd name="T23" fmla="*/ 294 h 811"/>
                  <a:gd name="T24" fmla="*/ 391 w 1259"/>
                  <a:gd name="T25" fmla="*/ 261 h 811"/>
                  <a:gd name="T26" fmla="*/ 288 w 1259"/>
                  <a:gd name="T27" fmla="*/ 229 h 811"/>
                  <a:gd name="T28" fmla="*/ 195 w 1259"/>
                  <a:gd name="T29" fmla="*/ 196 h 811"/>
                  <a:gd name="T30" fmla="*/ 119 w 1259"/>
                  <a:gd name="T31" fmla="*/ 152 h 811"/>
                  <a:gd name="T32" fmla="*/ 54 w 1259"/>
                  <a:gd name="T33" fmla="*/ 109 h 811"/>
                  <a:gd name="T34" fmla="*/ 33 w 1259"/>
                  <a:gd name="T35" fmla="*/ 87 h 811"/>
                  <a:gd name="T36" fmla="*/ 16 w 1259"/>
                  <a:gd name="T37" fmla="*/ 60 h 811"/>
                  <a:gd name="T38" fmla="*/ 5 w 1259"/>
                  <a:gd name="T39" fmla="*/ 33 h 811"/>
                  <a:gd name="T40" fmla="*/ 0 w 1259"/>
                  <a:gd name="T41" fmla="*/ 0 h 811"/>
                  <a:gd name="T42" fmla="*/ 0 w 1259"/>
                  <a:gd name="T43" fmla="*/ 6 h 811"/>
                  <a:gd name="T44" fmla="*/ 0 w 1259"/>
                  <a:gd name="T45" fmla="*/ 11 h 811"/>
                  <a:gd name="T46" fmla="*/ 0 w 1259"/>
                  <a:gd name="T47" fmla="*/ 38 h 811"/>
                  <a:gd name="T48" fmla="*/ 5 w 1259"/>
                  <a:gd name="T49" fmla="*/ 60 h 811"/>
                  <a:gd name="T50" fmla="*/ 16 w 1259"/>
                  <a:gd name="T51" fmla="*/ 87 h 811"/>
                  <a:gd name="T52" fmla="*/ 33 w 1259"/>
                  <a:gd name="T53" fmla="*/ 114 h 811"/>
                  <a:gd name="T54" fmla="*/ 54 w 1259"/>
                  <a:gd name="T55" fmla="*/ 142 h 811"/>
                  <a:gd name="T56" fmla="*/ 87 w 1259"/>
                  <a:gd name="T57" fmla="*/ 174 h 811"/>
                  <a:gd name="T58" fmla="*/ 125 w 1259"/>
                  <a:gd name="T59" fmla="*/ 207 h 811"/>
                  <a:gd name="T60" fmla="*/ 179 w 1259"/>
                  <a:gd name="T61" fmla="*/ 240 h 811"/>
                  <a:gd name="T62" fmla="*/ 244 w 1259"/>
                  <a:gd name="T63" fmla="*/ 278 h 811"/>
                  <a:gd name="T64" fmla="*/ 326 w 1259"/>
                  <a:gd name="T65" fmla="*/ 310 h 811"/>
                  <a:gd name="T66" fmla="*/ 418 w 1259"/>
                  <a:gd name="T67" fmla="*/ 348 h 811"/>
                  <a:gd name="T68" fmla="*/ 526 w 1259"/>
                  <a:gd name="T69" fmla="*/ 381 h 811"/>
                  <a:gd name="T70" fmla="*/ 657 w 1259"/>
                  <a:gd name="T71" fmla="*/ 414 h 811"/>
                  <a:gd name="T72" fmla="*/ 749 w 1259"/>
                  <a:gd name="T73" fmla="*/ 435 h 811"/>
                  <a:gd name="T74" fmla="*/ 830 w 1259"/>
                  <a:gd name="T75" fmla="*/ 463 h 811"/>
                  <a:gd name="T76" fmla="*/ 901 w 1259"/>
                  <a:gd name="T77" fmla="*/ 490 h 811"/>
                  <a:gd name="T78" fmla="*/ 966 w 1259"/>
                  <a:gd name="T79" fmla="*/ 512 h 811"/>
                  <a:gd name="T80" fmla="*/ 1015 w 1259"/>
                  <a:gd name="T81" fmla="*/ 539 h 811"/>
                  <a:gd name="T82" fmla="*/ 1053 w 1259"/>
                  <a:gd name="T83" fmla="*/ 566 h 811"/>
                  <a:gd name="T84" fmla="*/ 1080 w 1259"/>
                  <a:gd name="T85" fmla="*/ 593 h 811"/>
                  <a:gd name="T86" fmla="*/ 1102 w 1259"/>
                  <a:gd name="T87" fmla="*/ 620 h 811"/>
                  <a:gd name="T88" fmla="*/ 1112 w 1259"/>
                  <a:gd name="T89" fmla="*/ 648 h 811"/>
                  <a:gd name="T90" fmla="*/ 1118 w 1259"/>
                  <a:gd name="T91" fmla="*/ 675 h 811"/>
                  <a:gd name="T92" fmla="*/ 1112 w 1259"/>
                  <a:gd name="T93" fmla="*/ 697 h 811"/>
                  <a:gd name="T94" fmla="*/ 1096 w 1259"/>
                  <a:gd name="T95" fmla="*/ 724 h 811"/>
                  <a:gd name="T96" fmla="*/ 1080 w 1259"/>
                  <a:gd name="T97" fmla="*/ 746 h 811"/>
                  <a:gd name="T98" fmla="*/ 1053 w 1259"/>
                  <a:gd name="T99" fmla="*/ 767 h 811"/>
                  <a:gd name="T100" fmla="*/ 1015 w 1259"/>
                  <a:gd name="T101" fmla="*/ 789 h 811"/>
                  <a:gd name="T102" fmla="*/ 977 w 1259"/>
                  <a:gd name="T103" fmla="*/ 811 h 811"/>
                  <a:gd name="T104" fmla="*/ 1047 w 1259"/>
                  <a:gd name="T105" fmla="*/ 789 h 811"/>
                  <a:gd name="T106" fmla="*/ 1107 w 1259"/>
                  <a:gd name="T107" fmla="*/ 767 h 811"/>
                  <a:gd name="T108" fmla="*/ 1156 w 1259"/>
                  <a:gd name="T109" fmla="*/ 746 h 811"/>
                  <a:gd name="T110" fmla="*/ 1199 w 1259"/>
                  <a:gd name="T111" fmla="*/ 724 h 811"/>
                  <a:gd name="T112" fmla="*/ 1226 w 1259"/>
                  <a:gd name="T113" fmla="*/ 702 h 811"/>
                  <a:gd name="T114" fmla="*/ 1248 w 1259"/>
                  <a:gd name="T115" fmla="*/ 675 h 811"/>
                  <a:gd name="T116" fmla="*/ 1259 w 1259"/>
                  <a:gd name="T117" fmla="*/ 648 h 811"/>
                  <a:gd name="T118" fmla="*/ 1259 w 1259"/>
                  <a:gd name="T119" fmla="*/ 615 h 811"/>
                  <a:gd name="T120" fmla="*/ 1259 w 1259"/>
                  <a:gd name="T121" fmla="*/ 615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59" h="811">
                    <a:moveTo>
                      <a:pt x="1259" y="615"/>
                    </a:moveTo>
                    <a:lnTo>
                      <a:pt x="1248" y="588"/>
                    </a:lnTo>
                    <a:lnTo>
                      <a:pt x="1237" y="566"/>
                    </a:lnTo>
                    <a:lnTo>
                      <a:pt x="1216" y="539"/>
                    </a:lnTo>
                    <a:lnTo>
                      <a:pt x="1188" y="517"/>
                    </a:lnTo>
                    <a:lnTo>
                      <a:pt x="1123" y="479"/>
                    </a:lnTo>
                    <a:lnTo>
                      <a:pt x="1042" y="441"/>
                    </a:lnTo>
                    <a:lnTo>
                      <a:pt x="944" y="408"/>
                    </a:lnTo>
                    <a:lnTo>
                      <a:pt x="841" y="381"/>
                    </a:lnTo>
                    <a:lnTo>
                      <a:pt x="727" y="348"/>
                    </a:lnTo>
                    <a:lnTo>
                      <a:pt x="613" y="321"/>
                    </a:lnTo>
                    <a:lnTo>
                      <a:pt x="499" y="294"/>
                    </a:lnTo>
                    <a:lnTo>
                      <a:pt x="391" y="261"/>
                    </a:lnTo>
                    <a:lnTo>
                      <a:pt x="288" y="229"/>
                    </a:lnTo>
                    <a:lnTo>
                      <a:pt x="195" y="196"/>
                    </a:lnTo>
                    <a:lnTo>
                      <a:pt x="119" y="152"/>
                    </a:lnTo>
                    <a:lnTo>
                      <a:pt x="54" y="109"/>
                    </a:lnTo>
                    <a:lnTo>
                      <a:pt x="33" y="87"/>
                    </a:lnTo>
                    <a:lnTo>
                      <a:pt x="16" y="60"/>
                    </a:lnTo>
                    <a:lnTo>
                      <a:pt x="5" y="33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38"/>
                    </a:lnTo>
                    <a:lnTo>
                      <a:pt x="5" y="60"/>
                    </a:lnTo>
                    <a:lnTo>
                      <a:pt x="16" y="87"/>
                    </a:lnTo>
                    <a:lnTo>
                      <a:pt x="33" y="114"/>
                    </a:lnTo>
                    <a:lnTo>
                      <a:pt x="54" y="142"/>
                    </a:lnTo>
                    <a:lnTo>
                      <a:pt x="87" y="174"/>
                    </a:lnTo>
                    <a:lnTo>
                      <a:pt x="125" y="207"/>
                    </a:lnTo>
                    <a:lnTo>
                      <a:pt x="179" y="240"/>
                    </a:lnTo>
                    <a:lnTo>
                      <a:pt x="244" y="278"/>
                    </a:lnTo>
                    <a:lnTo>
                      <a:pt x="326" y="310"/>
                    </a:lnTo>
                    <a:lnTo>
                      <a:pt x="418" y="348"/>
                    </a:lnTo>
                    <a:lnTo>
                      <a:pt x="526" y="381"/>
                    </a:lnTo>
                    <a:lnTo>
                      <a:pt x="657" y="414"/>
                    </a:lnTo>
                    <a:lnTo>
                      <a:pt x="749" y="435"/>
                    </a:lnTo>
                    <a:lnTo>
                      <a:pt x="830" y="463"/>
                    </a:lnTo>
                    <a:lnTo>
                      <a:pt x="901" y="490"/>
                    </a:lnTo>
                    <a:lnTo>
                      <a:pt x="966" y="512"/>
                    </a:lnTo>
                    <a:lnTo>
                      <a:pt x="1015" y="539"/>
                    </a:lnTo>
                    <a:lnTo>
                      <a:pt x="1053" y="566"/>
                    </a:lnTo>
                    <a:lnTo>
                      <a:pt x="1080" y="593"/>
                    </a:lnTo>
                    <a:lnTo>
                      <a:pt x="1102" y="620"/>
                    </a:lnTo>
                    <a:lnTo>
                      <a:pt x="1112" y="648"/>
                    </a:lnTo>
                    <a:lnTo>
                      <a:pt x="1118" y="675"/>
                    </a:lnTo>
                    <a:lnTo>
                      <a:pt x="1112" y="697"/>
                    </a:lnTo>
                    <a:lnTo>
                      <a:pt x="1096" y="724"/>
                    </a:lnTo>
                    <a:lnTo>
                      <a:pt x="1080" y="746"/>
                    </a:lnTo>
                    <a:lnTo>
                      <a:pt x="1053" y="767"/>
                    </a:lnTo>
                    <a:lnTo>
                      <a:pt x="1015" y="789"/>
                    </a:lnTo>
                    <a:lnTo>
                      <a:pt x="977" y="811"/>
                    </a:lnTo>
                    <a:lnTo>
                      <a:pt x="1047" y="789"/>
                    </a:lnTo>
                    <a:lnTo>
                      <a:pt x="1107" y="767"/>
                    </a:lnTo>
                    <a:lnTo>
                      <a:pt x="1156" y="746"/>
                    </a:lnTo>
                    <a:lnTo>
                      <a:pt x="1199" y="724"/>
                    </a:lnTo>
                    <a:lnTo>
                      <a:pt x="1226" y="702"/>
                    </a:lnTo>
                    <a:lnTo>
                      <a:pt x="1248" y="675"/>
                    </a:lnTo>
                    <a:lnTo>
                      <a:pt x="1259" y="648"/>
                    </a:lnTo>
                    <a:lnTo>
                      <a:pt x="1259" y="615"/>
                    </a:lnTo>
                    <a:lnTo>
                      <a:pt x="1259" y="61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shade val="90980"/>
                      <a:invGamma/>
                    </a:schemeClr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  <p:sp>
            <p:nvSpPr>
              <p:cNvPr id="7176" name="Freeform 8"/>
              <p:cNvSpPr>
                <a:spLocks/>
              </p:cNvSpPr>
              <p:nvPr/>
            </p:nvSpPr>
            <p:spPr bwMode="hidden">
              <a:xfrm>
                <a:off x="2900" y="3346"/>
                <a:ext cx="2849" cy="969"/>
              </a:xfrm>
              <a:custGeom>
                <a:avLst/>
                <a:gdLst>
                  <a:gd name="T0" fmla="*/ 92 w 2849"/>
                  <a:gd name="T1" fmla="*/ 958 h 969"/>
                  <a:gd name="T2" fmla="*/ 0 w 2849"/>
                  <a:gd name="T3" fmla="*/ 969 h 969"/>
                  <a:gd name="T4" fmla="*/ 391 w 2849"/>
                  <a:gd name="T5" fmla="*/ 969 h 969"/>
                  <a:gd name="T6" fmla="*/ 434 w 2849"/>
                  <a:gd name="T7" fmla="*/ 947 h 969"/>
                  <a:gd name="T8" fmla="*/ 483 w 2849"/>
                  <a:gd name="T9" fmla="*/ 914 h 969"/>
                  <a:gd name="T10" fmla="*/ 554 w 2849"/>
                  <a:gd name="T11" fmla="*/ 876 h 969"/>
                  <a:gd name="T12" fmla="*/ 635 w 2849"/>
                  <a:gd name="T13" fmla="*/ 838 h 969"/>
                  <a:gd name="T14" fmla="*/ 727 w 2849"/>
                  <a:gd name="T15" fmla="*/ 794 h 969"/>
                  <a:gd name="T16" fmla="*/ 836 w 2849"/>
                  <a:gd name="T17" fmla="*/ 745 h 969"/>
                  <a:gd name="T18" fmla="*/ 961 w 2849"/>
                  <a:gd name="T19" fmla="*/ 696 h 969"/>
                  <a:gd name="T20" fmla="*/ 1102 w 2849"/>
                  <a:gd name="T21" fmla="*/ 642 h 969"/>
                  <a:gd name="T22" fmla="*/ 1259 w 2849"/>
                  <a:gd name="T23" fmla="*/ 582 h 969"/>
                  <a:gd name="T24" fmla="*/ 1433 w 2849"/>
                  <a:gd name="T25" fmla="*/ 522 h 969"/>
                  <a:gd name="T26" fmla="*/ 1623 w 2849"/>
                  <a:gd name="T27" fmla="*/ 462 h 969"/>
                  <a:gd name="T28" fmla="*/ 1829 w 2849"/>
                  <a:gd name="T29" fmla="*/ 403 h 969"/>
                  <a:gd name="T30" fmla="*/ 2057 w 2849"/>
                  <a:gd name="T31" fmla="*/ 343 h 969"/>
                  <a:gd name="T32" fmla="*/ 2301 w 2849"/>
                  <a:gd name="T33" fmla="*/ 283 h 969"/>
                  <a:gd name="T34" fmla="*/ 2567 w 2849"/>
                  <a:gd name="T35" fmla="*/ 223 h 969"/>
                  <a:gd name="T36" fmla="*/ 2849 w 2849"/>
                  <a:gd name="T37" fmla="*/ 163 h 969"/>
                  <a:gd name="T38" fmla="*/ 2849 w 2849"/>
                  <a:gd name="T39" fmla="*/ 0 h 969"/>
                  <a:gd name="T40" fmla="*/ 2817 w 2849"/>
                  <a:gd name="T41" fmla="*/ 16 h 969"/>
                  <a:gd name="T42" fmla="*/ 2773 w 2849"/>
                  <a:gd name="T43" fmla="*/ 33 h 969"/>
                  <a:gd name="T44" fmla="*/ 2719 w 2849"/>
                  <a:gd name="T45" fmla="*/ 54 h 969"/>
                  <a:gd name="T46" fmla="*/ 2648 w 2849"/>
                  <a:gd name="T47" fmla="*/ 76 h 969"/>
                  <a:gd name="T48" fmla="*/ 2572 w 2849"/>
                  <a:gd name="T49" fmla="*/ 98 h 969"/>
                  <a:gd name="T50" fmla="*/ 2491 w 2849"/>
                  <a:gd name="T51" fmla="*/ 120 h 969"/>
                  <a:gd name="T52" fmla="*/ 2399 w 2849"/>
                  <a:gd name="T53" fmla="*/ 147 h 969"/>
                  <a:gd name="T54" fmla="*/ 2301 w 2849"/>
                  <a:gd name="T55" fmla="*/ 169 h 969"/>
                  <a:gd name="T56" fmla="*/ 2095 w 2849"/>
                  <a:gd name="T57" fmla="*/ 223 h 969"/>
                  <a:gd name="T58" fmla="*/ 1889 w 2849"/>
                  <a:gd name="T59" fmla="*/ 277 h 969"/>
                  <a:gd name="T60" fmla="*/ 1688 w 2849"/>
                  <a:gd name="T61" fmla="*/ 326 h 969"/>
                  <a:gd name="T62" fmla="*/ 1590 w 2849"/>
                  <a:gd name="T63" fmla="*/ 354 h 969"/>
                  <a:gd name="T64" fmla="*/ 1503 w 2849"/>
                  <a:gd name="T65" fmla="*/ 381 h 969"/>
                  <a:gd name="T66" fmla="*/ 1107 w 2849"/>
                  <a:gd name="T67" fmla="*/ 506 h 969"/>
                  <a:gd name="T68" fmla="*/ 912 w 2849"/>
                  <a:gd name="T69" fmla="*/ 577 h 969"/>
                  <a:gd name="T70" fmla="*/ 727 w 2849"/>
                  <a:gd name="T71" fmla="*/ 647 h 969"/>
                  <a:gd name="T72" fmla="*/ 548 w 2849"/>
                  <a:gd name="T73" fmla="*/ 718 h 969"/>
                  <a:gd name="T74" fmla="*/ 380 w 2849"/>
                  <a:gd name="T75" fmla="*/ 794 h 969"/>
                  <a:gd name="T76" fmla="*/ 228 w 2849"/>
                  <a:gd name="T77" fmla="*/ 876 h 969"/>
                  <a:gd name="T78" fmla="*/ 92 w 2849"/>
                  <a:gd name="T79" fmla="*/ 958 h 969"/>
                  <a:gd name="T80" fmla="*/ 92 w 2849"/>
                  <a:gd name="T81" fmla="*/ 958 h 9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849" h="969">
                    <a:moveTo>
                      <a:pt x="92" y="958"/>
                    </a:moveTo>
                    <a:lnTo>
                      <a:pt x="0" y="969"/>
                    </a:lnTo>
                    <a:lnTo>
                      <a:pt x="391" y="969"/>
                    </a:lnTo>
                    <a:lnTo>
                      <a:pt x="434" y="947"/>
                    </a:lnTo>
                    <a:lnTo>
                      <a:pt x="483" y="914"/>
                    </a:lnTo>
                    <a:lnTo>
                      <a:pt x="554" y="876"/>
                    </a:lnTo>
                    <a:lnTo>
                      <a:pt x="635" y="838"/>
                    </a:lnTo>
                    <a:lnTo>
                      <a:pt x="727" y="794"/>
                    </a:lnTo>
                    <a:lnTo>
                      <a:pt x="836" y="745"/>
                    </a:lnTo>
                    <a:lnTo>
                      <a:pt x="961" y="696"/>
                    </a:lnTo>
                    <a:lnTo>
                      <a:pt x="1102" y="642"/>
                    </a:lnTo>
                    <a:lnTo>
                      <a:pt x="1259" y="582"/>
                    </a:lnTo>
                    <a:lnTo>
                      <a:pt x="1433" y="522"/>
                    </a:lnTo>
                    <a:lnTo>
                      <a:pt x="1623" y="462"/>
                    </a:lnTo>
                    <a:lnTo>
                      <a:pt x="1829" y="403"/>
                    </a:lnTo>
                    <a:lnTo>
                      <a:pt x="2057" y="343"/>
                    </a:lnTo>
                    <a:lnTo>
                      <a:pt x="2301" y="283"/>
                    </a:lnTo>
                    <a:lnTo>
                      <a:pt x="2567" y="223"/>
                    </a:lnTo>
                    <a:lnTo>
                      <a:pt x="2849" y="163"/>
                    </a:lnTo>
                    <a:lnTo>
                      <a:pt x="2849" y="0"/>
                    </a:lnTo>
                    <a:lnTo>
                      <a:pt x="2817" y="16"/>
                    </a:lnTo>
                    <a:lnTo>
                      <a:pt x="2773" y="33"/>
                    </a:lnTo>
                    <a:lnTo>
                      <a:pt x="2719" y="54"/>
                    </a:lnTo>
                    <a:lnTo>
                      <a:pt x="2648" y="76"/>
                    </a:lnTo>
                    <a:lnTo>
                      <a:pt x="2572" y="98"/>
                    </a:lnTo>
                    <a:lnTo>
                      <a:pt x="2491" y="120"/>
                    </a:lnTo>
                    <a:lnTo>
                      <a:pt x="2399" y="147"/>
                    </a:lnTo>
                    <a:lnTo>
                      <a:pt x="2301" y="169"/>
                    </a:lnTo>
                    <a:lnTo>
                      <a:pt x="2095" y="223"/>
                    </a:lnTo>
                    <a:lnTo>
                      <a:pt x="1889" y="277"/>
                    </a:lnTo>
                    <a:lnTo>
                      <a:pt x="1688" y="326"/>
                    </a:lnTo>
                    <a:lnTo>
                      <a:pt x="1590" y="354"/>
                    </a:lnTo>
                    <a:lnTo>
                      <a:pt x="1503" y="381"/>
                    </a:lnTo>
                    <a:lnTo>
                      <a:pt x="1107" y="506"/>
                    </a:lnTo>
                    <a:lnTo>
                      <a:pt x="912" y="577"/>
                    </a:lnTo>
                    <a:lnTo>
                      <a:pt x="727" y="647"/>
                    </a:lnTo>
                    <a:lnTo>
                      <a:pt x="548" y="718"/>
                    </a:lnTo>
                    <a:lnTo>
                      <a:pt x="380" y="794"/>
                    </a:lnTo>
                    <a:lnTo>
                      <a:pt x="228" y="876"/>
                    </a:lnTo>
                    <a:lnTo>
                      <a:pt x="92" y="958"/>
                    </a:lnTo>
                    <a:lnTo>
                      <a:pt x="92" y="958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1961"/>
                      <a:invGamma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  <p:sp>
            <p:nvSpPr>
              <p:cNvPr id="1038" name="Freeform 9"/>
              <p:cNvSpPr>
                <a:spLocks/>
              </p:cNvSpPr>
              <p:nvPr/>
            </p:nvSpPr>
            <p:spPr bwMode="hidden">
              <a:xfrm>
                <a:off x="2748" y="2230"/>
                <a:ext cx="3007" cy="2085"/>
              </a:xfrm>
              <a:custGeom>
                <a:avLst/>
                <a:gdLst>
                  <a:gd name="T0" fmla="*/ 1433 w 3007"/>
                  <a:gd name="T1" fmla="*/ 474 h 2085"/>
                  <a:gd name="T2" fmla="*/ 1460 w 3007"/>
                  <a:gd name="T3" fmla="*/ 528 h 2085"/>
                  <a:gd name="T4" fmla="*/ 1541 w 3007"/>
                  <a:gd name="T5" fmla="*/ 593 h 2085"/>
                  <a:gd name="T6" fmla="*/ 1715 w 3007"/>
                  <a:gd name="T7" fmla="*/ 670 h 2085"/>
                  <a:gd name="T8" fmla="*/ 1927 w 3007"/>
                  <a:gd name="T9" fmla="*/ 735 h 2085"/>
                  <a:gd name="T10" fmla="*/ 2155 w 3007"/>
                  <a:gd name="T11" fmla="*/ 789 h 2085"/>
                  <a:gd name="T12" fmla="*/ 2372 w 3007"/>
                  <a:gd name="T13" fmla="*/ 849 h 2085"/>
                  <a:gd name="T14" fmla="*/ 2551 w 3007"/>
                  <a:gd name="T15" fmla="*/ 920 h 2085"/>
                  <a:gd name="T16" fmla="*/ 2638 w 3007"/>
                  <a:gd name="T17" fmla="*/ 980 h 2085"/>
                  <a:gd name="T18" fmla="*/ 2676 w 3007"/>
                  <a:gd name="T19" fmla="*/ 1029 h 2085"/>
                  <a:gd name="T20" fmla="*/ 2681 w 3007"/>
                  <a:gd name="T21" fmla="*/ 1083 h 2085"/>
                  <a:gd name="T22" fmla="*/ 2665 w 3007"/>
                  <a:gd name="T23" fmla="*/ 1127 h 2085"/>
                  <a:gd name="T24" fmla="*/ 2616 w 3007"/>
                  <a:gd name="T25" fmla="*/ 1170 h 2085"/>
                  <a:gd name="T26" fmla="*/ 2545 w 3007"/>
                  <a:gd name="T27" fmla="*/ 1208 h 2085"/>
                  <a:gd name="T28" fmla="*/ 2448 w 3007"/>
                  <a:gd name="T29" fmla="*/ 1241 h 2085"/>
                  <a:gd name="T30" fmla="*/ 2328 w 3007"/>
                  <a:gd name="T31" fmla="*/ 1274 h 2085"/>
                  <a:gd name="T32" fmla="*/ 2106 w 3007"/>
                  <a:gd name="T33" fmla="*/ 1328 h 2085"/>
                  <a:gd name="T34" fmla="*/ 1742 w 3007"/>
                  <a:gd name="T35" fmla="*/ 1421 h 2085"/>
                  <a:gd name="T36" fmla="*/ 1308 w 3007"/>
                  <a:gd name="T37" fmla="*/ 1540 h 2085"/>
                  <a:gd name="T38" fmla="*/ 820 w 3007"/>
                  <a:gd name="T39" fmla="*/ 1709 h 2085"/>
                  <a:gd name="T40" fmla="*/ 282 w 3007"/>
                  <a:gd name="T41" fmla="*/ 1943 h 2085"/>
                  <a:gd name="T42" fmla="*/ 152 w 3007"/>
                  <a:gd name="T43" fmla="*/ 2085 h 2085"/>
                  <a:gd name="T44" fmla="*/ 386 w 3007"/>
                  <a:gd name="T45" fmla="*/ 1992 h 2085"/>
                  <a:gd name="T46" fmla="*/ 700 w 3007"/>
                  <a:gd name="T47" fmla="*/ 1834 h 2085"/>
                  <a:gd name="T48" fmla="*/ 1064 w 3007"/>
                  <a:gd name="T49" fmla="*/ 1693 h 2085"/>
                  <a:gd name="T50" fmla="*/ 1661 w 3007"/>
                  <a:gd name="T51" fmla="*/ 1497 h 2085"/>
                  <a:gd name="T52" fmla="*/ 1845 w 3007"/>
                  <a:gd name="T53" fmla="*/ 1442 h 2085"/>
                  <a:gd name="T54" fmla="*/ 2252 w 3007"/>
                  <a:gd name="T55" fmla="*/ 1339 h 2085"/>
                  <a:gd name="T56" fmla="*/ 2551 w 3007"/>
                  <a:gd name="T57" fmla="*/ 1263 h 2085"/>
                  <a:gd name="T58" fmla="*/ 2730 w 3007"/>
                  <a:gd name="T59" fmla="*/ 1214 h 2085"/>
                  <a:gd name="T60" fmla="*/ 2876 w 3007"/>
                  <a:gd name="T61" fmla="*/ 1170 h 2085"/>
                  <a:gd name="T62" fmla="*/ 2974 w 3007"/>
                  <a:gd name="T63" fmla="*/ 1132 h 2085"/>
                  <a:gd name="T64" fmla="*/ 3007 w 3007"/>
                  <a:gd name="T65" fmla="*/ 871 h 2085"/>
                  <a:gd name="T66" fmla="*/ 2860 w 3007"/>
                  <a:gd name="T67" fmla="*/ 844 h 2085"/>
                  <a:gd name="T68" fmla="*/ 2670 w 3007"/>
                  <a:gd name="T69" fmla="*/ 806 h 2085"/>
                  <a:gd name="T70" fmla="*/ 2458 w 3007"/>
                  <a:gd name="T71" fmla="*/ 757 h 2085"/>
                  <a:gd name="T72" fmla="*/ 2138 w 3007"/>
                  <a:gd name="T73" fmla="*/ 670 h 2085"/>
                  <a:gd name="T74" fmla="*/ 1959 w 3007"/>
                  <a:gd name="T75" fmla="*/ 604 h 2085"/>
                  <a:gd name="T76" fmla="*/ 1824 w 3007"/>
                  <a:gd name="T77" fmla="*/ 534 h 2085"/>
                  <a:gd name="T78" fmla="*/ 1769 w 3007"/>
                  <a:gd name="T79" fmla="*/ 474 h 2085"/>
                  <a:gd name="T80" fmla="*/ 1753 w 3007"/>
                  <a:gd name="T81" fmla="*/ 436 h 2085"/>
                  <a:gd name="T82" fmla="*/ 1780 w 3007"/>
                  <a:gd name="T83" fmla="*/ 381 h 2085"/>
                  <a:gd name="T84" fmla="*/ 1862 w 3007"/>
                  <a:gd name="T85" fmla="*/ 316 h 2085"/>
                  <a:gd name="T86" fmla="*/ 1986 w 3007"/>
                  <a:gd name="T87" fmla="*/ 267 h 2085"/>
                  <a:gd name="T88" fmla="*/ 2149 w 3007"/>
                  <a:gd name="T89" fmla="*/ 229 h 2085"/>
                  <a:gd name="T90" fmla="*/ 2431 w 3007"/>
                  <a:gd name="T91" fmla="*/ 180 h 2085"/>
                  <a:gd name="T92" fmla="*/ 2827 w 3007"/>
                  <a:gd name="T93" fmla="*/ 125 h 2085"/>
                  <a:gd name="T94" fmla="*/ 3007 w 3007"/>
                  <a:gd name="T95" fmla="*/ 87 h 2085"/>
                  <a:gd name="T96" fmla="*/ 2909 w 3007"/>
                  <a:gd name="T97" fmla="*/ 22 h 2085"/>
                  <a:gd name="T98" fmla="*/ 2676 w 3007"/>
                  <a:gd name="T99" fmla="*/ 66 h 2085"/>
                  <a:gd name="T100" fmla="*/ 2285 w 3007"/>
                  <a:gd name="T101" fmla="*/ 120 h 2085"/>
                  <a:gd name="T102" fmla="*/ 2030 w 3007"/>
                  <a:gd name="T103" fmla="*/ 158 h 2085"/>
                  <a:gd name="T104" fmla="*/ 1791 w 3007"/>
                  <a:gd name="T105" fmla="*/ 202 h 2085"/>
                  <a:gd name="T106" fmla="*/ 1601 w 3007"/>
                  <a:gd name="T107" fmla="*/ 261 h 2085"/>
                  <a:gd name="T108" fmla="*/ 1471 w 3007"/>
                  <a:gd name="T109" fmla="*/ 338 h 2085"/>
                  <a:gd name="T110" fmla="*/ 1438 w 3007"/>
                  <a:gd name="T111" fmla="*/ 387 h 2085"/>
                  <a:gd name="T112" fmla="*/ 1427 w 3007"/>
                  <a:gd name="T113" fmla="*/ 441 h 208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3007" h="2085">
                    <a:moveTo>
                      <a:pt x="1427" y="441"/>
                    </a:moveTo>
                    <a:lnTo>
                      <a:pt x="1433" y="474"/>
                    </a:lnTo>
                    <a:lnTo>
                      <a:pt x="1444" y="501"/>
                    </a:lnTo>
                    <a:lnTo>
                      <a:pt x="1460" y="528"/>
                    </a:lnTo>
                    <a:lnTo>
                      <a:pt x="1482" y="550"/>
                    </a:lnTo>
                    <a:lnTo>
                      <a:pt x="1541" y="593"/>
                    </a:lnTo>
                    <a:lnTo>
                      <a:pt x="1623" y="637"/>
                    </a:lnTo>
                    <a:lnTo>
                      <a:pt x="1715" y="670"/>
                    </a:lnTo>
                    <a:lnTo>
                      <a:pt x="1818" y="702"/>
                    </a:lnTo>
                    <a:lnTo>
                      <a:pt x="1927" y="735"/>
                    </a:lnTo>
                    <a:lnTo>
                      <a:pt x="2041" y="762"/>
                    </a:lnTo>
                    <a:lnTo>
                      <a:pt x="2155" y="789"/>
                    </a:lnTo>
                    <a:lnTo>
                      <a:pt x="2269" y="822"/>
                    </a:lnTo>
                    <a:lnTo>
                      <a:pt x="2372" y="849"/>
                    </a:lnTo>
                    <a:lnTo>
                      <a:pt x="2464" y="882"/>
                    </a:lnTo>
                    <a:lnTo>
                      <a:pt x="2551" y="920"/>
                    </a:lnTo>
                    <a:lnTo>
                      <a:pt x="2616" y="958"/>
                    </a:lnTo>
                    <a:lnTo>
                      <a:pt x="2638" y="980"/>
                    </a:lnTo>
                    <a:lnTo>
                      <a:pt x="2659" y="1007"/>
                    </a:lnTo>
                    <a:lnTo>
                      <a:pt x="2676" y="1029"/>
                    </a:lnTo>
                    <a:lnTo>
                      <a:pt x="2681" y="1056"/>
                    </a:lnTo>
                    <a:lnTo>
                      <a:pt x="2681" y="1083"/>
                    </a:lnTo>
                    <a:lnTo>
                      <a:pt x="2676" y="1105"/>
                    </a:lnTo>
                    <a:lnTo>
                      <a:pt x="2665" y="1127"/>
                    </a:lnTo>
                    <a:lnTo>
                      <a:pt x="2643" y="1149"/>
                    </a:lnTo>
                    <a:lnTo>
                      <a:pt x="2616" y="1170"/>
                    </a:lnTo>
                    <a:lnTo>
                      <a:pt x="2583" y="1187"/>
                    </a:lnTo>
                    <a:lnTo>
                      <a:pt x="2545" y="1208"/>
                    </a:lnTo>
                    <a:lnTo>
                      <a:pt x="2502" y="1225"/>
                    </a:lnTo>
                    <a:lnTo>
                      <a:pt x="2448" y="1241"/>
                    </a:lnTo>
                    <a:lnTo>
                      <a:pt x="2388" y="1257"/>
                    </a:lnTo>
                    <a:lnTo>
                      <a:pt x="2328" y="1274"/>
                    </a:lnTo>
                    <a:lnTo>
                      <a:pt x="2258" y="1290"/>
                    </a:lnTo>
                    <a:lnTo>
                      <a:pt x="2106" y="1328"/>
                    </a:lnTo>
                    <a:lnTo>
                      <a:pt x="1932" y="1372"/>
                    </a:lnTo>
                    <a:lnTo>
                      <a:pt x="1742" y="1421"/>
                    </a:lnTo>
                    <a:lnTo>
                      <a:pt x="1531" y="1475"/>
                    </a:lnTo>
                    <a:lnTo>
                      <a:pt x="1308" y="1540"/>
                    </a:lnTo>
                    <a:lnTo>
                      <a:pt x="1069" y="1617"/>
                    </a:lnTo>
                    <a:lnTo>
                      <a:pt x="820" y="1709"/>
                    </a:lnTo>
                    <a:lnTo>
                      <a:pt x="554" y="1818"/>
                    </a:lnTo>
                    <a:lnTo>
                      <a:pt x="282" y="1943"/>
                    </a:lnTo>
                    <a:lnTo>
                      <a:pt x="0" y="2085"/>
                    </a:lnTo>
                    <a:lnTo>
                      <a:pt x="152" y="2085"/>
                    </a:lnTo>
                    <a:lnTo>
                      <a:pt x="244" y="2074"/>
                    </a:lnTo>
                    <a:lnTo>
                      <a:pt x="386" y="1992"/>
                    </a:lnTo>
                    <a:lnTo>
                      <a:pt x="537" y="1910"/>
                    </a:lnTo>
                    <a:lnTo>
                      <a:pt x="700" y="1834"/>
                    </a:lnTo>
                    <a:lnTo>
                      <a:pt x="879" y="1763"/>
                    </a:lnTo>
                    <a:lnTo>
                      <a:pt x="1064" y="1693"/>
                    </a:lnTo>
                    <a:lnTo>
                      <a:pt x="1259" y="1622"/>
                    </a:lnTo>
                    <a:lnTo>
                      <a:pt x="1661" y="1497"/>
                    </a:lnTo>
                    <a:lnTo>
                      <a:pt x="1748" y="1470"/>
                    </a:lnTo>
                    <a:lnTo>
                      <a:pt x="1845" y="1442"/>
                    </a:lnTo>
                    <a:lnTo>
                      <a:pt x="2046" y="1393"/>
                    </a:lnTo>
                    <a:lnTo>
                      <a:pt x="2252" y="1339"/>
                    </a:lnTo>
                    <a:lnTo>
                      <a:pt x="2458" y="1285"/>
                    </a:lnTo>
                    <a:lnTo>
                      <a:pt x="2551" y="1263"/>
                    </a:lnTo>
                    <a:lnTo>
                      <a:pt x="2643" y="1236"/>
                    </a:lnTo>
                    <a:lnTo>
                      <a:pt x="2730" y="1214"/>
                    </a:lnTo>
                    <a:lnTo>
                      <a:pt x="2806" y="1192"/>
                    </a:lnTo>
                    <a:lnTo>
                      <a:pt x="2876" y="1170"/>
                    </a:lnTo>
                    <a:lnTo>
                      <a:pt x="2931" y="1149"/>
                    </a:lnTo>
                    <a:lnTo>
                      <a:pt x="2974" y="1132"/>
                    </a:lnTo>
                    <a:lnTo>
                      <a:pt x="3007" y="1116"/>
                    </a:lnTo>
                    <a:lnTo>
                      <a:pt x="3007" y="871"/>
                    </a:lnTo>
                    <a:lnTo>
                      <a:pt x="2941" y="860"/>
                    </a:lnTo>
                    <a:lnTo>
                      <a:pt x="2860" y="844"/>
                    </a:lnTo>
                    <a:lnTo>
                      <a:pt x="2773" y="827"/>
                    </a:lnTo>
                    <a:lnTo>
                      <a:pt x="2670" y="806"/>
                    </a:lnTo>
                    <a:lnTo>
                      <a:pt x="2567" y="784"/>
                    </a:lnTo>
                    <a:lnTo>
                      <a:pt x="2458" y="757"/>
                    </a:lnTo>
                    <a:lnTo>
                      <a:pt x="2241" y="702"/>
                    </a:lnTo>
                    <a:lnTo>
                      <a:pt x="2138" y="670"/>
                    </a:lnTo>
                    <a:lnTo>
                      <a:pt x="2046" y="637"/>
                    </a:lnTo>
                    <a:lnTo>
                      <a:pt x="1959" y="604"/>
                    </a:lnTo>
                    <a:lnTo>
                      <a:pt x="1883" y="566"/>
                    </a:lnTo>
                    <a:lnTo>
                      <a:pt x="1824" y="534"/>
                    </a:lnTo>
                    <a:lnTo>
                      <a:pt x="1780" y="495"/>
                    </a:lnTo>
                    <a:lnTo>
                      <a:pt x="1769" y="474"/>
                    </a:lnTo>
                    <a:lnTo>
                      <a:pt x="1758" y="457"/>
                    </a:lnTo>
                    <a:lnTo>
                      <a:pt x="1753" y="436"/>
                    </a:lnTo>
                    <a:lnTo>
                      <a:pt x="1758" y="419"/>
                    </a:lnTo>
                    <a:lnTo>
                      <a:pt x="1780" y="381"/>
                    </a:lnTo>
                    <a:lnTo>
                      <a:pt x="1813" y="343"/>
                    </a:lnTo>
                    <a:lnTo>
                      <a:pt x="1862" y="316"/>
                    </a:lnTo>
                    <a:lnTo>
                      <a:pt x="1921" y="289"/>
                    </a:lnTo>
                    <a:lnTo>
                      <a:pt x="1986" y="267"/>
                    </a:lnTo>
                    <a:lnTo>
                      <a:pt x="2062" y="245"/>
                    </a:lnTo>
                    <a:lnTo>
                      <a:pt x="2149" y="229"/>
                    </a:lnTo>
                    <a:lnTo>
                      <a:pt x="2236" y="213"/>
                    </a:lnTo>
                    <a:lnTo>
                      <a:pt x="2431" y="180"/>
                    </a:lnTo>
                    <a:lnTo>
                      <a:pt x="2627" y="158"/>
                    </a:lnTo>
                    <a:lnTo>
                      <a:pt x="2827" y="125"/>
                    </a:lnTo>
                    <a:lnTo>
                      <a:pt x="2920" y="109"/>
                    </a:lnTo>
                    <a:lnTo>
                      <a:pt x="3007" y="87"/>
                    </a:lnTo>
                    <a:lnTo>
                      <a:pt x="3007" y="0"/>
                    </a:lnTo>
                    <a:lnTo>
                      <a:pt x="2909" y="22"/>
                    </a:lnTo>
                    <a:lnTo>
                      <a:pt x="2795" y="44"/>
                    </a:lnTo>
                    <a:lnTo>
                      <a:pt x="2676" y="66"/>
                    </a:lnTo>
                    <a:lnTo>
                      <a:pt x="2551" y="82"/>
                    </a:lnTo>
                    <a:lnTo>
                      <a:pt x="2285" y="120"/>
                    </a:lnTo>
                    <a:lnTo>
                      <a:pt x="2155" y="136"/>
                    </a:lnTo>
                    <a:lnTo>
                      <a:pt x="2030" y="158"/>
                    </a:lnTo>
                    <a:lnTo>
                      <a:pt x="1905" y="174"/>
                    </a:lnTo>
                    <a:lnTo>
                      <a:pt x="1791" y="202"/>
                    </a:lnTo>
                    <a:lnTo>
                      <a:pt x="1688" y="229"/>
                    </a:lnTo>
                    <a:lnTo>
                      <a:pt x="1601" y="261"/>
                    </a:lnTo>
                    <a:lnTo>
                      <a:pt x="1525" y="300"/>
                    </a:lnTo>
                    <a:lnTo>
                      <a:pt x="1471" y="338"/>
                    </a:lnTo>
                    <a:lnTo>
                      <a:pt x="1455" y="359"/>
                    </a:lnTo>
                    <a:lnTo>
                      <a:pt x="1438" y="387"/>
                    </a:lnTo>
                    <a:lnTo>
                      <a:pt x="1427" y="414"/>
                    </a:lnTo>
                    <a:lnTo>
                      <a:pt x="1427" y="44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78" name="Freeform 10"/>
              <p:cNvSpPr>
                <a:spLocks/>
              </p:cNvSpPr>
              <p:nvPr/>
            </p:nvSpPr>
            <p:spPr bwMode="hidden">
              <a:xfrm>
                <a:off x="4501" y="2317"/>
                <a:ext cx="1248" cy="539"/>
              </a:xfrm>
              <a:custGeom>
                <a:avLst/>
                <a:gdLst>
                  <a:gd name="T0" fmla="*/ 0 w 1248"/>
                  <a:gd name="T1" fmla="*/ 332 h 539"/>
                  <a:gd name="T2" fmla="*/ 0 w 1248"/>
                  <a:gd name="T3" fmla="*/ 360 h 539"/>
                  <a:gd name="T4" fmla="*/ 5 w 1248"/>
                  <a:gd name="T5" fmla="*/ 387 h 539"/>
                  <a:gd name="T6" fmla="*/ 27 w 1248"/>
                  <a:gd name="T7" fmla="*/ 414 h 539"/>
                  <a:gd name="T8" fmla="*/ 54 w 1248"/>
                  <a:gd name="T9" fmla="*/ 436 h 539"/>
                  <a:gd name="T10" fmla="*/ 92 w 1248"/>
                  <a:gd name="T11" fmla="*/ 463 h 539"/>
                  <a:gd name="T12" fmla="*/ 141 w 1248"/>
                  <a:gd name="T13" fmla="*/ 490 h 539"/>
                  <a:gd name="T14" fmla="*/ 195 w 1248"/>
                  <a:gd name="T15" fmla="*/ 512 h 539"/>
                  <a:gd name="T16" fmla="*/ 255 w 1248"/>
                  <a:gd name="T17" fmla="*/ 539 h 539"/>
                  <a:gd name="T18" fmla="*/ 212 w 1248"/>
                  <a:gd name="T19" fmla="*/ 517 h 539"/>
                  <a:gd name="T20" fmla="*/ 179 w 1248"/>
                  <a:gd name="T21" fmla="*/ 490 h 539"/>
                  <a:gd name="T22" fmla="*/ 157 w 1248"/>
                  <a:gd name="T23" fmla="*/ 468 h 539"/>
                  <a:gd name="T24" fmla="*/ 141 w 1248"/>
                  <a:gd name="T25" fmla="*/ 447 h 539"/>
                  <a:gd name="T26" fmla="*/ 136 w 1248"/>
                  <a:gd name="T27" fmla="*/ 425 h 539"/>
                  <a:gd name="T28" fmla="*/ 136 w 1248"/>
                  <a:gd name="T29" fmla="*/ 403 h 539"/>
                  <a:gd name="T30" fmla="*/ 141 w 1248"/>
                  <a:gd name="T31" fmla="*/ 381 h 539"/>
                  <a:gd name="T32" fmla="*/ 157 w 1248"/>
                  <a:gd name="T33" fmla="*/ 365 h 539"/>
                  <a:gd name="T34" fmla="*/ 179 w 1248"/>
                  <a:gd name="T35" fmla="*/ 343 h 539"/>
                  <a:gd name="T36" fmla="*/ 201 w 1248"/>
                  <a:gd name="T37" fmla="*/ 327 h 539"/>
                  <a:gd name="T38" fmla="*/ 266 w 1248"/>
                  <a:gd name="T39" fmla="*/ 294 h 539"/>
                  <a:gd name="T40" fmla="*/ 353 w 1248"/>
                  <a:gd name="T41" fmla="*/ 262 h 539"/>
                  <a:gd name="T42" fmla="*/ 445 w 1248"/>
                  <a:gd name="T43" fmla="*/ 234 h 539"/>
                  <a:gd name="T44" fmla="*/ 554 w 1248"/>
                  <a:gd name="T45" fmla="*/ 213 h 539"/>
                  <a:gd name="T46" fmla="*/ 662 w 1248"/>
                  <a:gd name="T47" fmla="*/ 191 h 539"/>
                  <a:gd name="T48" fmla="*/ 890 w 1248"/>
                  <a:gd name="T49" fmla="*/ 153 h 539"/>
                  <a:gd name="T50" fmla="*/ 993 w 1248"/>
                  <a:gd name="T51" fmla="*/ 136 h 539"/>
                  <a:gd name="T52" fmla="*/ 1091 w 1248"/>
                  <a:gd name="T53" fmla="*/ 120 h 539"/>
                  <a:gd name="T54" fmla="*/ 1178 w 1248"/>
                  <a:gd name="T55" fmla="*/ 115 h 539"/>
                  <a:gd name="T56" fmla="*/ 1248 w 1248"/>
                  <a:gd name="T57" fmla="*/ 104 h 539"/>
                  <a:gd name="T58" fmla="*/ 1248 w 1248"/>
                  <a:gd name="T59" fmla="*/ 0 h 539"/>
                  <a:gd name="T60" fmla="*/ 1161 w 1248"/>
                  <a:gd name="T61" fmla="*/ 22 h 539"/>
                  <a:gd name="T62" fmla="*/ 1069 w 1248"/>
                  <a:gd name="T63" fmla="*/ 38 h 539"/>
                  <a:gd name="T64" fmla="*/ 874 w 1248"/>
                  <a:gd name="T65" fmla="*/ 71 h 539"/>
                  <a:gd name="T66" fmla="*/ 673 w 1248"/>
                  <a:gd name="T67" fmla="*/ 93 h 539"/>
                  <a:gd name="T68" fmla="*/ 483 w 1248"/>
                  <a:gd name="T69" fmla="*/ 126 h 539"/>
                  <a:gd name="T70" fmla="*/ 391 w 1248"/>
                  <a:gd name="T71" fmla="*/ 142 h 539"/>
                  <a:gd name="T72" fmla="*/ 309 w 1248"/>
                  <a:gd name="T73" fmla="*/ 158 h 539"/>
                  <a:gd name="T74" fmla="*/ 228 w 1248"/>
                  <a:gd name="T75" fmla="*/ 180 h 539"/>
                  <a:gd name="T76" fmla="*/ 163 w 1248"/>
                  <a:gd name="T77" fmla="*/ 202 h 539"/>
                  <a:gd name="T78" fmla="*/ 103 w 1248"/>
                  <a:gd name="T79" fmla="*/ 229 h 539"/>
                  <a:gd name="T80" fmla="*/ 54 w 1248"/>
                  <a:gd name="T81" fmla="*/ 256 h 539"/>
                  <a:gd name="T82" fmla="*/ 22 w 1248"/>
                  <a:gd name="T83" fmla="*/ 294 h 539"/>
                  <a:gd name="T84" fmla="*/ 0 w 1248"/>
                  <a:gd name="T85" fmla="*/ 332 h 539"/>
                  <a:gd name="T86" fmla="*/ 0 w 1248"/>
                  <a:gd name="T87" fmla="*/ 332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48" h="539">
                    <a:moveTo>
                      <a:pt x="0" y="332"/>
                    </a:moveTo>
                    <a:lnTo>
                      <a:pt x="0" y="360"/>
                    </a:lnTo>
                    <a:lnTo>
                      <a:pt x="5" y="387"/>
                    </a:lnTo>
                    <a:lnTo>
                      <a:pt x="27" y="414"/>
                    </a:lnTo>
                    <a:lnTo>
                      <a:pt x="54" y="436"/>
                    </a:lnTo>
                    <a:lnTo>
                      <a:pt x="92" y="463"/>
                    </a:lnTo>
                    <a:lnTo>
                      <a:pt x="141" y="490"/>
                    </a:lnTo>
                    <a:lnTo>
                      <a:pt x="195" y="512"/>
                    </a:lnTo>
                    <a:lnTo>
                      <a:pt x="255" y="539"/>
                    </a:lnTo>
                    <a:lnTo>
                      <a:pt x="212" y="517"/>
                    </a:lnTo>
                    <a:lnTo>
                      <a:pt x="179" y="490"/>
                    </a:lnTo>
                    <a:lnTo>
                      <a:pt x="157" y="468"/>
                    </a:lnTo>
                    <a:lnTo>
                      <a:pt x="141" y="447"/>
                    </a:lnTo>
                    <a:lnTo>
                      <a:pt x="136" y="425"/>
                    </a:lnTo>
                    <a:lnTo>
                      <a:pt x="136" y="403"/>
                    </a:lnTo>
                    <a:lnTo>
                      <a:pt x="141" y="381"/>
                    </a:lnTo>
                    <a:lnTo>
                      <a:pt x="157" y="365"/>
                    </a:lnTo>
                    <a:lnTo>
                      <a:pt x="179" y="343"/>
                    </a:lnTo>
                    <a:lnTo>
                      <a:pt x="201" y="327"/>
                    </a:lnTo>
                    <a:lnTo>
                      <a:pt x="266" y="294"/>
                    </a:lnTo>
                    <a:lnTo>
                      <a:pt x="353" y="262"/>
                    </a:lnTo>
                    <a:lnTo>
                      <a:pt x="445" y="234"/>
                    </a:lnTo>
                    <a:lnTo>
                      <a:pt x="554" y="213"/>
                    </a:lnTo>
                    <a:lnTo>
                      <a:pt x="662" y="191"/>
                    </a:lnTo>
                    <a:lnTo>
                      <a:pt x="890" y="153"/>
                    </a:lnTo>
                    <a:lnTo>
                      <a:pt x="993" y="136"/>
                    </a:lnTo>
                    <a:lnTo>
                      <a:pt x="1091" y="120"/>
                    </a:lnTo>
                    <a:lnTo>
                      <a:pt x="1178" y="115"/>
                    </a:lnTo>
                    <a:lnTo>
                      <a:pt x="1248" y="104"/>
                    </a:lnTo>
                    <a:lnTo>
                      <a:pt x="1248" y="0"/>
                    </a:lnTo>
                    <a:lnTo>
                      <a:pt x="1161" y="22"/>
                    </a:lnTo>
                    <a:lnTo>
                      <a:pt x="1069" y="38"/>
                    </a:lnTo>
                    <a:lnTo>
                      <a:pt x="874" y="71"/>
                    </a:lnTo>
                    <a:lnTo>
                      <a:pt x="673" y="93"/>
                    </a:lnTo>
                    <a:lnTo>
                      <a:pt x="483" y="126"/>
                    </a:lnTo>
                    <a:lnTo>
                      <a:pt x="391" y="142"/>
                    </a:lnTo>
                    <a:lnTo>
                      <a:pt x="309" y="158"/>
                    </a:lnTo>
                    <a:lnTo>
                      <a:pt x="228" y="180"/>
                    </a:lnTo>
                    <a:lnTo>
                      <a:pt x="163" y="202"/>
                    </a:lnTo>
                    <a:lnTo>
                      <a:pt x="103" y="229"/>
                    </a:lnTo>
                    <a:lnTo>
                      <a:pt x="54" y="256"/>
                    </a:lnTo>
                    <a:lnTo>
                      <a:pt x="22" y="294"/>
                    </a:lnTo>
                    <a:lnTo>
                      <a:pt x="0" y="332"/>
                    </a:lnTo>
                    <a:lnTo>
                      <a:pt x="0" y="332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87843"/>
                      <a:invGamma/>
                    </a:schemeClr>
                  </a:gs>
                  <a:gs pos="100000">
                    <a:schemeClr val="bg1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7179" name="Freeform 11"/>
            <p:cNvSpPr>
              <a:spLocks/>
            </p:cNvSpPr>
            <p:nvPr/>
          </p:nvSpPr>
          <p:spPr bwMode="hidden">
            <a:xfrm>
              <a:off x="3322" y="1341"/>
              <a:ext cx="1825" cy="1537"/>
            </a:xfrm>
            <a:custGeom>
              <a:avLst/>
              <a:gdLst>
                <a:gd name="T0" fmla="*/ 982 w 2296"/>
                <a:gd name="T1" fmla="*/ 1061 h 1469"/>
                <a:gd name="T2" fmla="*/ 1357 w 2296"/>
                <a:gd name="T3" fmla="*/ 1012 h 1469"/>
                <a:gd name="T4" fmla="*/ 1666 w 2296"/>
                <a:gd name="T5" fmla="*/ 957 h 1469"/>
                <a:gd name="T6" fmla="*/ 1916 w 2296"/>
                <a:gd name="T7" fmla="*/ 897 h 1469"/>
                <a:gd name="T8" fmla="*/ 2100 w 2296"/>
                <a:gd name="T9" fmla="*/ 832 h 1469"/>
                <a:gd name="T10" fmla="*/ 2220 w 2296"/>
                <a:gd name="T11" fmla="*/ 756 h 1469"/>
                <a:gd name="T12" fmla="*/ 2285 w 2296"/>
                <a:gd name="T13" fmla="*/ 669 h 1469"/>
                <a:gd name="T14" fmla="*/ 2290 w 2296"/>
                <a:gd name="T15" fmla="*/ 560 h 1469"/>
                <a:gd name="T16" fmla="*/ 2241 w 2296"/>
                <a:gd name="T17" fmla="*/ 457 h 1469"/>
                <a:gd name="T18" fmla="*/ 2144 w 2296"/>
                <a:gd name="T19" fmla="*/ 364 h 1469"/>
                <a:gd name="T20" fmla="*/ 2008 w 2296"/>
                <a:gd name="T21" fmla="*/ 277 h 1469"/>
                <a:gd name="T22" fmla="*/ 1769 w 2296"/>
                <a:gd name="T23" fmla="*/ 157 h 1469"/>
                <a:gd name="T24" fmla="*/ 1612 w 2296"/>
                <a:gd name="T25" fmla="*/ 92 h 1469"/>
                <a:gd name="T26" fmla="*/ 1476 w 2296"/>
                <a:gd name="T27" fmla="*/ 43 h 1469"/>
                <a:gd name="T28" fmla="*/ 1384 w 2296"/>
                <a:gd name="T29" fmla="*/ 10 h 1469"/>
                <a:gd name="T30" fmla="*/ 1346 w 2296"/>
                <a:gd name="T31" fmla="*/ 0 h 1469"/>
                <a:gd name="T32" fmla="*/ 1655 w 2296"/>
                <a:gd name="T33" fmla="*/ 119 h 1469"/>
                <a:gd name="T34" fmla="*/ 1948 w 2296"/>
                <a:gd name="T35" fmla="*/ 255 h 1469"/>
                <a:gd name="T36" fmla="*/ 2068 w 2296"/>
                <a:gd name="T37" fmla="*/ 326 h 1469"/>
                <a:gd name="T38" fmla="*/ 2171 w 2296"/>
                <a:gd name="T39" fmla="*/ 402 h 1469"/>
                <a:gd name="T40" fmla="*/ 2236 w 2296"/>
                <a:gd name="T41" fmla="*/ 478 h 1469"/>
                <a:gd name="T42" fmla="*/ 2263 w 2296"/>
                <a:gd name="T43" fmla="*/ 560 h 1469"/>
                <a:gd name="T44" fmla="*/ 2241 w 2296"/>
                <a:gd name="T45" fmla="*/ 636 h 1469"/>
                <a:gd name="T46" fmla="*/ 2171 w 2296"/>
                <a:gd name="T47" fmla="*/ 702 h 1469"/>
                <a:gd name="T48" fmla="*/ 2062 w 2296"/>
                <a:gd name="T49" fmla="*/ 756 h 1469"/>
                <a:gd name="T50" fmla="*/ 1921 w 2296"/>
                <a:gd name="T51" fmla="*/ 800 h 1469"/>
                <a:gd name="T52" fmla="*/ 1748 w 2296"/>
                <a:gd name="T53" fmla="*/ 843 h 1469"/>
                <a:gd name="T54" fmla="*/ 1351 w 2296"/>
                <a:gd name="T55" fmla="*/ 908 h 1469"/>
                <a:gd name="T56" fmla="*/ 923 w 2296"/>
                <a:gd name="T57" fmla="*/ 968 h 1469"/>
                <a:gd name="T58" fmla="*/ 521 w 2296"/>
                <a:gd name="T59" fmla="*/ 1028 h 1469"/>
                <a:gd name="T60" fmla="*/ 353 w 2296"/>
                <a:gd name="T61" fmla="*/ 1066 h 1469"/>
                <a:gd name="T62" fmla="*/ 206 w 2296"/>
                <a:gd name="T63" fmla="*/ 1104 h 1469"/>
                <a:gd name="T64" fmla="*/ 92 w 2296"/>
                <a:gd name="T65" fmla="*/ 1148 h 1469"/>
                <a:gd name="T66" fmla="*/ 22 w 2296"/>
                <a:gd name="T67" fmla="*/ 1202 h 1469"/>
                <a:gd name="T68" fmla="*/ 0 w 2296"/>
                <a:gd name="T69" fmla="*/ 1262 h 1469"/>
                <a:gd name="T70" fmla="*/ 27 w 2296"/>
                <a:gd name="T71" fmla="*/ 1327 h 1469"/>
                <a:gd name="T72" fmla="*/ 98 w 2296"/>
                <a:gd name="T73" fmla="*/ 1382 h 1469"/>
                <a:gd name="T74" fmla="*/ 196 w 2296"/>
                <a:gd name="T75" fmla="*/ 1425 h 1469"/>
                <a:gd name="T76" fmla="*/ 326 w 2296"/>
                <a:gd name="T77" fmla="*/ 1469 h 1469"/>
                <a:gd name="T78" fmla="*/ 217 w 2296"/>
                <a:gd name="T79" fmla="*/ 1414 h 1469"/>
                <a:gd name="T80" fmla="*/ 147 w 2296"/>
                <a:gd name="T81" fmla="*/ 1360 h 1469"/>
                <a:gd name="T82" fmla="*/ 120 w 2296"/>
                <a:gd name="T83" fmla="*/ 1306 h 1469"/>
                <a:gd name="T84" fmla="*/ 141 w 2296"/>
                <a:gd name="T85" fmla="*/ 1257 h 1469"/>
                <a:gd name="T86" fmla="*/ 212 w 2296"/>
                <a:gd name="T87" fmla="*/ 1208 h 1469"/>
                <a:gd name="T88" fmla="*/ 342 w 2296"/>
                <a:gd name="T89" fmla="*/ 1164 h 1469"/>
                <a:gd name="T90" fmla="*/ 527 w 2296"/>
                <a:gd name="T91" fmla="*/ 1121 h 1469"/>
                <a:gd name="T92" fmla="*/ 771 w 2296"/>
                <a:gd name="T93" fmla="*/ 1088 h 1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96" h="1469">
                  <a:moveTo>
                    <a:pt x="771" y="1088"/>
                  </a:moveTo>
                  <a:lnTo>
                    <a:pt x="982" y="1061"/>
                  </a:lnTo>
                  <a:lnTo>
                    <a:pt x="1178" y="1034"/>
                  </a:lnTo>
                  <a:lnTo>
                    <a:pt x="1357" y="1012"/>
                  </a:lnTo>
                  <a:lnTo>
                    <a:pt x="1520" y="985"/>
                  </a:lnTo>
                  <a:lnTo>
                    <a:pt x="1666" y="957"/>
                  </a:lnTo>
                  <a:lnTo>
                    <a:pt x="1796" y="930"/>
                  </a:lnTo>
                  <a:lnTo>
                    <a:pt x="1916" y="897"/>
                  </a:lnTo>
                  <a:lnTo>
                    <a:pt x="2013" y="870"/>
                  </a:lnTo>
                  <a:lnTo>
                    <a:pt x="2100" y="832"/>
                  </a:lnTo>
                  <a:lnTo>
                    <a:pt x="2171" y="800"/>
                  </a:lnTo>
                  <a:lnTo>
                    <a:pt x="2220" y="756"/>
                  </a:lnTo>
                  <a:lnTo>
                    <a:pt x="2263" y="712"/>
                  </a:lnTo>
                  <a:lnTo>
                    <a:pt x="2285" y="669"/>
                  </a:lnTo>
                  <a:lnTo>
                    <a:pt x="2296" y="614"/>
                  </a:lnTo>
                  <a:lnTo>
                    <a:pt x="2290" y="560"/>
                  </a:lnTo>
                  <a:lnTo>
                    <a:pt x="2269" y="500"/>
                  </a:lnTo>
                  <a:lnTo>
                    <a:pt x="2241" y="457"/>
                  </a:lnTo>
                  <a:lnTo>
                    <a:pt x="2198" y="408"/>
                  </a:lnTo>
                  <a:lnTo>
                    <a:pt x="2144" y="364"/>
                  </a:lnTo>
                  <a:lnTo>
                    <a:pt x="2079" y="321"/>
                  </a:lnTo>
                  <a:lnTo>
                    <a:pt x="2008" y="277"/>
                  </a:lnTo>
                  <a:lnTo>
                    <a:pt x="1927" y="234"/>
                  </a:lnTo>
                  <a:lnTo>
                    <a:pt x="1769" y="157"/>
                  </a:lnTo>
                  <a:lnTo>
                    <a:pt x="1688" y="125"/>
                  </a:lnTo>
                  <a:lnTo>
                    <a:pt x="1612" y="92"/>
                  </a:lnTo>
                  <a:lnTo>
                    <a:pt x="1536" y="65"/>
                  </a:lnTo>
                  <a:lnTo>
                    <a:pt x="1476" y="43"/>
                  </a:lnTo>
                  <a:lnTo>
                    <a:pt x="1422" y="27"/>
                  </a:lnTo>
                  <a:lnTo>
                    <a:pt x="1384" y="10"/>
                  </a:lnTo>
                  <a:lnTo>
                    <a:pt x="1357" y="5"/>
                  </a:lnTo>
                  <a:lnTo>
                    <a:pt x="1346" y="0"/>
                  </a:lnTo>
                  <a:lnTo>
                    <a:pt x="1498" y="54"/>
                  </a:lnTo>
                  <a:lnTo>
                    <a:pt x="1655" y="119"/>
                  </a:lnTo>
                  <a:lnTo>
                    <a:pt x="1807" y="185"/>
                  </a:lnTo>
                  <a:lnTo>
                    <a:pt x="1948" y="255"/>
                  </a:lnTo>
                  <a:lnTo>
                    <a:pt x="2013" y="288"/>
                  </a:lnTo>
                  <a:lnTo>
                    <a:pt x="2068" y="326"/>
                  </a:lnTo>
                  <a:lnTo>
                    <a:pt x="2122" y="364"/>
                  </a:lnTo>
                  <a:lnTo>
                    <a:pt x="2171" y="402"/>
                  </a:lnTo>
                  <a:lnTo>
                    <a:pt x="2209" y="440"/>
                  </a:lnTo>
                  <a:lnTo>
                    <a:pt x="2236" y="478"/>
                  </a:lnTo>
                  <a:lnTo>
                    <a:pt x="2252" y="522"/>
                  </a:lnTo>
                  <a:lnTo>
                    <a:pt x="2263" y="560"/>
                  </a:lnTo>
                  <a:lnTo>
                    <a:pt x="2258" y="598"/>
                  </a:lnTo>
                  <a:lnTo>
                    <a:pt x="2241" y="636"/>
                  </a:lnTo>
                  <a:lnTo>
                    <a:pt x="2214" y="669"/>
                  </a:lnTo>
                  <a:lnTo>
                    <a:pt x="2171" y="702"/>
                  </a:lnTo>
                  <a:lnTo>
                    <a:pt x="2122" y="729"/>
                  </a:lnTo>
                  <a:lnTo>
                    <a:pt x="2062" y="756"/>
                  </a:lnTo>
                  <a:lnTo>
                    <a:pt x="1997" y="778"/>
                  </a:lnTo>
                  <a:lnTo>
                    <a:pt x="1921" y="800"/>
                  </a:lnTo>
                  <a:lnTo>
                    <a:pt x="1834" y="821"/>
                  </a:lnTo>
                  <a:lnTo>
                    <a:pt x="1748" y="843"/>
                  </a:lnTo>
                  <a:lnTo>
                    <a:pt x="1552" y="876"/>
                  </a:lnTo>
                  <a:lnTo>
                    <a:pt x="1351" y="908"/>
                  </a:lnTo>
                  <a:lnTo>
                    <a:pt x="1134" y="941"/>
                  </a:lnTo>
                  <a:lnTo>
                    <a:pt x="923" y="968"/>
                  </a:lnTo>
                  <a:lnTo>
                    <a:pt x="716" y="995"/>
                  </a:lnTo>
                  <a:lnTo>
                    <a:pt x="521" y="1028"/>
                  </a:lnTo>
                  <a:lnTo>
                    <a:pt x="434" y="1044"/>
                  </a:lnTo>
                  <a:lnTo>
                    <a:pt x="353" y="1066"/>
                  </a:lnTo>
                  <a:lnTo>
                    <a:pt x="277" y="1082"/>
                  </a:lnTo>
                  <a:lnTo>
                    <a:pt x="206" y="1104"/>
                  </a:lnTo>
                  <a:lnTo>
                    <a:pt x="147" y="1126"/>
                  </a:lnTo>
                  <a:lnTo>
                    <a:pt x="92" y="1148"/>
                  </a:lnTo>
                  <a:lnTo>
                    <a:pt x="54" y="1175"/>
                  </a:lnTo>
                  <a:lnTo>
                    <a:pt x="22" y="1202"/>
                  </a:lnTo>
                  <a:lnTo>
                    <a:pt x="6" y="1229"/>
                  </a:lnTo>
                  <a:lnTo>
                    <a:pt x="0" y="1262"/>
                  </a:lnTo>
                  <a:lnTo>
                    <a:pt x="11" y="1295"/>
                  </a:lnTo>
                  <a:lnTo>
                    <a:pt x="27" y="1327"/>
                  </a:lnTo>
                  <a:lnTo>
                    <a:pt x="54" y="1355"/>
                  </a:lnTo>
                  <a:lnTo>
                    <a:pt x="98" y="1382"/>
                  </a:lnTo>
                  <a:lnTo>
                    <a:pt x="141" y="1404"/>
                  </a:lnTo>
                  <a:lnTo>
                    <a:pt x="196" y="1425"/>
                  </a:lnTo>
                  <a:lnTo>
                    <a:pt x="261" y="1447"/>
                  </a:lnTo>
                  <a:lnTo>
                    <a:pt x="326" y="1469"/>
                  </a:lnTo>
                  <a:lnTo>
                    <a:pt x="266" y="1442"/>
                  </a:lnTo>
                  <a:lnTo>
                    <a:pt x="217" y="1414"/>
                  </a:lnTo>
                  <a:lnTo>
                    <a:pt x="174" y="1387"/>
                  </a:lnTo>
                  <a:lnTo>
                    <a:pt x="147" y="1360"/>
                  </a:lnTo>
                  <a:lnTo>
                    <a:pt x="125" y="1333"/>
                  </a:lnTo>
                  <a:lnTo>
                    <a:pt x="120" y="1306"/>
                  </a:lnTo>
                  <a:lnTo>
                    <a:pt x="125" y="1278"/>
                  </a:lnTo>
                  <a:lnTo>
                    <a:pt x="141" y="1257"/>
                  </a:lnTo>
                  <a:lnTo>
                    <a:pt x="174" y="1229"/>
                  </a:lnTo>
                  <a:lnTo>
                    <a:pt x="212" y="1208"/>
                  </a:lnTo>
                  <a:lnTo>
                    <a:pt x="272" y="1186"/>
                  </a:lnTo>
                  <a:lnTo>
                    <a:pt x="342" y="1164"/>
                  </a:lnTo>
                  <a:lnTo>
                    <a:pt x="423" y="1142"/>
                  </a:lnTo>
                  <a:lnTo>
                    <a:pt x="527" y="1121"/>
                  </a:lnTo>
                  <a:lnTo>
                    <a:pt x="641" y="1104"/>
                  </a:lnTo>
                  <a:lnTo>
                    <a:pt x="771" y="1088"/>
                  </a:lnTo>
                  <a:lnTo>
                    <a:pt x="771" y="108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034" name="Freeform 12"/>
            <p:cNvSpPr>
              <a:spLocks/>
            </p:cNvSpPr>
            <p:nvPr/>
          </p:nvSpPr>
          <p:spPr bwMode="hidden">
            <a:xfrm>
              <a:off x="0" y="0"/>
              <a:ext cx="5758" cy="1776"/>
            </a:xfrm>
            <a:custGeom>
              <a:avLst/>
              <a:gdLst>
                <a:gd name="T0" fmla="*/ 0 w 5740"/>
                <a:gd name="T1" fmla="*/ 0 h 1906"/>
                <a:gd name="T2" fmla="*/ 0 w 5740"/>
                <a:gd name="T3" fmla="*/ 1542 h 1906"/>
                <a:gd name="T4" fmla="*/ 5794 w 5740"/>
                <a:gd name="T5" fmla="*/ 1542 h 1906"/>
                <a:gd name="T6" fmla="*/ 5794 w 5740"/>
                <a:gd name="T7" fmla="*/ 0 h 1906"/>
                <a:gd name="T8" fmla="*/ 0 w 5740"/>
                <a:gd name="T9" fmla="*/ 0 h 1906"/>
                <a:gd name="T10" fmla="*/ 0 w 5740"/>
                <a:gd name="T11" fmla="*/ 0 h 190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740" h="1906">
                  <a:moveTo>
                    <a:pt x="0" y="0"/>
                  </a:moveTo>
                  <a:lnTo>
                    <a:pt x="0" y="1906"/>
                  </a:lnTo>
                  <a:lnTo>
                    <a:pt x="5740" y="1906"/>
                  </a:lnTo>
                  <a:lnTo>
                    <a:pt x="574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7181" name="Rectangle 13"/>
          <p:cNvSpPr>
            <a:spLocks noGrp="1" noRot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718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7183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9665166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327" r:id="rId1"/>
    <p:sldLayoutId id="2147484328" r:id="rId2"/>
    <p:sldLayoutId id="2147484329" r:id="rId3"/>
    <p:sldLayoutId id="2147484330" r:id="rId4"/>
    <p:sldLayoutId id="2147484331" r:id="rId5"/>
    <p:sldLayoutId id="2147484332" r:id="rId6"/>
    <p:sldLayoutId id="2147484333" r:id="rId7"/>
    <p:sldLayoutId id="2147484334" r:id="rId8"/>
    <p:sldLayoutId id="2147484335" r:id="rId9"/>
    <p:sldLayoutId id="2147484336" r:id="rId10"/>
    <p:sldLayoutId id="2147484337" r:id="rId11"/>
    <p:sldLayoutId id="2147484338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n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2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82296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3075" name="Текст 1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1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400800" y="6356350"/>
            <a:ext cx="2289175" cy="3651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2898775" y="6356350"/>
            <a:ext cx="3505200" cy="3651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chemeClr val="tx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612775" y="6356350"/>
            <a:ext cx="1981200" cy="3651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A25C89-E9D7-4537-A9B0-F1064B14C9B4}" type="slidenum">
              <a:rPr lang="ru-RU">
                <a:solidFill>
                  <a:srgbClr val="46465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  <p:sp>
        <p:nvSpPr>
          <p:cNvPr id="28" name="Прямая соединительная линия 2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9" name="Прямая соединительная линия 28"/>
          <p:cNvSpPr>
            <a:spLocks noChangeShapeType="1"/>
          </p:cNvSpPr>
          <p:nvPr/>
        </p:nvSpPr>
        <p:spPr bwMode="auto">
          <a:xfrm>
            <a:off x="457200" y="1143000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0" name="Равнобедренный треугольник 9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366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5" r:id="rId1"/>
    <p:sldLayoutId id="2147484356" r:id="rId2"/>
    <p:sldLayoutId id="2147484357" r:id="rId3"/>
    <p:sldLayoutId id="2147484358" r:id="rId4"/>
    <p:sldLayoutId id="2147484359" r:id="rId5"/>
    <p:sldLayoutId id="2147484360" r:id="rId6"/>
    <p:sldLayoutId id="2147484361" r:id="rId7"/>
    <p:sldLayoutId id="2147484362" r:id="rId8"/>
    <p:sldLayoutId id="2147484363" r:id="rId9"/>
    <p:sldLayoutId id="2147484364" r:id="rId10"/>
    <p:sldLayoutId id="2147484365" r:id="rId11"/>
    <p:sldLayoutId id="2147484366" r:id="rId12"/>
    <p:sldLayoutId id="2147484367" r:id="rId13"/>
    <p:sldLayoutId id="2147484368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9pPr>
    </p:titleStyle>
    <p:bodyStyle>
      <a:lvl1pPr marL="273050" indent="-273050" algn="l" rtl="0" eaLnBrk="0" fontAlgn="base" hangingPunct="0">
        <a:spcBef>
          <a:spcPts val="600"/>
        </a:spcBef>
        <a:spcAft>
          <a:spcPct val="0"/>
        </a:spcAft>
        <a:buClr>
          <a:schemeClr val="accent1"/>
        </a:buClr>
        <a:buSzPct val="76000"/>
        <a:buFont typeface="Wingdings 3" pitchFamily="18" charset="2"/>
        <a:buChar char="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7688" indent="-27305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6000"/>
        <a:buFont typeface="Wingdings 3" pitchFamily="18" charset="2"/>
        <a:buChar char=""/>
        <a:defRPr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822325" indent="-228600" algn="l" rtl="0" eaLnBrk="0" fontAlgn="base" hangingPunct="0">
        <a:spcBef>
          <a:spcPts val="500"/>
        </a:spcBef>
        <a:spcAft>
          <a:spcPct val="0"/>
        </a:spcAft>
        <a:buClr>
          <a:srgbClr val="BCBCBC"/>
        </a:buClr>
        <a:buSzPct val="76000"/>
        <a:buFont typeface="Wingdings 3" pitchFamily="18" charset="2"/>
        <a:buChar char="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228600" algn="l" rtl="0" eaLnBrk="0" fontAlgn="base" hangingPunct="0">
        <a:spcBef>
          <a:spcPts val="400"/>
        </a:spcBef>
        <a:spcAft>
          <a:spcPct val="0"/>
        </a:spcAft>
        <a:buClr>
          <a:srgbClr val="8BA2B4"/>
        </a:buClr>
        <a:buSzPct val="70000"/>
        <a:buFont typeface="Wingdings" pitchFamily="2" charset="2"/>
        <a:buChar char="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182880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82880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21"/>
          <p:cNvSpPr>
            <a:spLocks noGrp="1"/>
          </p:cNvSpPr>
          <p:nvPr>
            <p:ph type="title"/>
          </p:nvPr>
        </p:nvSpPr>
        <p:spPr bwMode="auto">
          <a:xfrm>
            <a:off x="457200" y="152400"/>
            <a:ext cx="82296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3075" name="Текст 1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1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400800" y="6356350"/>
            <a:ext cx="2289175" cy="3651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2898775" y="6356350"/>
            <a:ext cx="3505200" cy="3651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chemeClr val="tx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464653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612775" y="6356350"/>
            <a:ext cx="1981200" cy="3651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A25C89-E9D7-4537-A9B0-F1064B14C9B4}" type="slidenum">
              <a:rPr lang="ru-RU">
                <a:solidFill>
                  <a:srgbClr val="46465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464653"/>
              </a:solidFill>
            </a:endParaRPr>
          </a:p>
        </p:txBody>
      </p:sp>
      <p:sp>
        <p:nvSpPr>
          <p:cNvPr id="28" name="Прямая соединительная линия 2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9" name="Прямая соединительная линия 28"/>
          <p:cNvSpPr>
            <a:spLocks noChangeShapeType="1"/>
          </p:cNvSpPr>
          <p:nvPr/>
        </p:nvSpPr>
        <p:spPr bwMode="auto">
          <a:xfrm>
            <a:off x="457200" y="1143000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0" name="Равнобедренный треугольник 9"/>
          <p:cNvSpPr>
            <a:spLocks noChangeAspect="1"/>
          </p:cNvSpPr>
          <p:nvPr/>
        </p:nvSpPr>
        <p:spPr>
          <a:xfrm rot="5400000">
            <a:off x="419100" y="6467475"/>
            <a:ext cx="190500" cy="12065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016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0" r:id="rId1"/>
    <p:sldLayoutId id="2147484371" r:id="rId2"/>
    <p:sldLayoutId id="2147484372" r:id="rId3"/>
    <p:sldLayoutId id="2147484373" r:id="rId4"/>
    <p:sldLayoutId id="2147484374" r:id="rId5"/>
    <p:sldLayoutId id="2147484375" r:id="rId6"/>
    <p:sldLayoutId id="2147484376" r:id="rId7"/>
    <p:sldLayoutId id="2147484377" r:id="rId8"/>
    <p:sldLayoutId id="2147484378" r:id="rId9"/>
    <p:sldLayoutId id="2147484379" r:id="rId10"/>
    <p:sldLayoutId id="2147484380" r:id="rId11"/>
    <p:sldLayoutId id="2147484381" r:id="rId12"/>
    <p:sldLayoutId id="2147484382" r:id="rId13"/>
    <p:sldLayoutId id="2147484383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mbria" pitchFamily="18" charset="0"/>
        </a:defRPr>
      </a:lvl9pPr>
    </p:titleStyle>
    <p:bodyStyle>
      <a:lvl1pPr marL="273050" indent="-273050" algn="l" rtl="0" eaLnBrk="0" fontAlgn="base" hangingPunct="0">
        <a:spcBef>
          <a:spcPts val="600"/>
        </a:spcBef>
        <a:spcAft>
          <a:spcPct val="0"/>
        </a:spcAft>
        <a:buClr>
          <a:schemeClr val="accent1"/>
        </a:buClr>
        <a:buSzPct val="76000"/>
        <a:buFont typeface="Wingdings 3" pitchFamily="18" charset="2"/>
        <a:buChar char="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7688" indent="-27305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6000"/>
        <a:buFont typeface="Wingdings 3" pitchFamily="18" charset="2"/>
        <a:buChar char=""/>
        <a:defRPr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822325" indent="-228600" algn="l" rtl="0" eaLnBrk="0" fontAlgn="base" hangingPunct="0">
        <a:spcBef>
          <a:spcPts val="500"/>
        </a:spcBef>
        <a:spcAft>
          <a:spcPct val="0"/>
        </a:spcAft>
        <a:buClr>
          <a:srgbClr val="BCBCBC"/>
        </a:buClr>
        <a:buSzPct val="76000"/>
        <a:buFont typeface="Wingdings 3" pitchFamily="18" charset="2"/>
        <a:buChar char="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228600" algn="l" rtl="0" eaLnBrk="0" fontAlgn="base" hangingPunct="0">
        <a:spcBef>
          <a:spcPts val="400"/>
        </a:spcBef>
        <a:spcAft>
          <a:spcPct val="0"/>
        </a:spcAft>
        <a:buClr>
          <a:srgbClr val="8BA2B4"/>
        </a:buClr>
        <a:buSzPct val="70000"/>
        <a:buFont typeface="Wingdings" pitchFamily="2" charset="2"/>
        <a:buChar char="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182880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82880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 algn="r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49CF257-E792-4C43-9DCD-483904960CDF}" type="slidenum">
              <a:rPr lang="ru-RU" sz="1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985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68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363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044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726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39825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7025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4225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2487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69302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6119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2935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5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2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47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64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78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95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11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26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 algn="r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49CF257-E792-4C43-9DCD-483904960CDF}" type="slidenum">
              <a:rPr lang="ru-RU" sz="1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32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  <p:sldLayoutId id="2147483732" r:id="rId34"/>
    <p:sldLayoutId id="2147483733" r:id="rId35"/>
    <p:sldLayoutId id="2147483734" r:id="rId36"/>
    <p:sldLayoutId id="2147483735" r:id="rId3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68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363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044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726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39825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7025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4225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2487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69302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6119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2935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5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2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47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64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78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95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11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26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 algn="r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49CF257-E792-4C43-9DCD-483904960CDF}" type="slidenum">
              <a:rPr lang="ru-RU" sz="1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413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756" r:id="rId20"/>
    <p:sldLayoutId id="2147483757" r:id="rId21"/>
    <p:sldLayoutId id="2147483758" r:id="rId22"/>
    <p:sldLayoutId id="2147483759" r:id="rId23"/>
    <p:sldLayoutId id="2147483760" r:id="rId24"/>
    <p:sldLayoutId id="2147483761" r:id="rId25"/>
    <p:sldLayoutId id="2147483762" r:id="rId26"/>
    <p:sldLayoutId id="2147483763" r:id="rId27"/>
    <p:sldLayoutId id="2147483764" r:id="rId28"/>
    <p:sldLayoutId id="2147483765" r:id="rId29"/>
    <p:sldLayoutId id="2147483766" r:id="rId30"/>
    <p:sldLayoutId id="2147483767" r:id="rId31"/>
    <p:sldLayoutId id="2147483768" r:id="rId32"/>
    <p:sldLayoutId id="2147483769" r:id="rId33"/>
    <p:sldLayoutId id="2147483770" r:id="rId34"/>
    <p:sldLayoutId id="2147483771" r:id="rId35"/>
    <p:sldLayoutId id="2147483772" r:id="rId36"/>
    <p:sldLayoutId id="2147483773" r:id="rId3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68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363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044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726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39825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7025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4225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2487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69302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6119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2935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5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2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47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64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78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95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11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26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 algn="ctr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64" tIns="45682" rIns="91364" bIns="45682" numCol="1" anchor="t" anchorCtr="0" compatLnSpc="1">
            <a:prstTxWarp prst="textNoShape">
              <a:avLst/>
            </a:prstTxWarp>
          </a:bodyPr>
          <a:lstStyle>
            <a:lvl1pPr algn="r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49CF257-E792-4C43-9DCD-483904960CDF}" type="slidenum">
              <a:rPr lang="ru-RU" sz="1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881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  <p:sldLayoutId id="2147483832" r:id="rId20"/>
    <p:sldLayoutId id="2147483833" r:id="rId21"/>
    <p:sldLayoutId id="2147483834" r:id="rId22"/>
    <p:sldLayoutId id="2147483835" r:id="rId23"/>
    <p:sldLayoutId id="2147483836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  <p:sldLayoutId id="2147483843" r:id="rId31"/>
    <p:sldLayoutId id="2147483844" r:id="rId32"/>
    <p:sldLayoutId id="2147483845" r:id="rId33"/>
    <p:sldLayoutId id="2147483846" r:id="rId34"/>
    <p:sldLayoutId id="2147483847" r:id="rId35"/>
    <p:sldLayoutId id="2147483848" r:id="rId36"/>
    <p:sldLayoutId id="2147483849" r:id="rId3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68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363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044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726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39825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597025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4225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2487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69302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6119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2935" indent="-2284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15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32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47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64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78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95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711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26" algn="l" defTabSz="9136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C9E8E4-1E96-474D-87ED-B77838A4D973}" type="slidenum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54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  <p:sldLayoutId id="2147483865" r:id="rId15"/>
    <p:sldLayoutId id="2147483866" r:id="rId16"/>
    <p:sldLayoutId id="2147483867" r:id="rId17"/>
    <p:sldLayoutId id="2147483868" r:id="rId18"/>
    <p:sldLayoutId id="2147483869" r:id="rId19"/>
    <p:sldLayoutId id="2147483870" r:id="rId20"/>
    <p:sldLayoutId id="2147483871" r:id="rId21"/>
    <p:sldLayoutId id="2147483872" r:id="rId22"/>
    <p:sldLayoutId id="2147483873" r:id="rId23"/>
    <p:sldLayoutId id="2147483874" r:id="rId24"/>
    <p:sldLayoutId id="2147483875" r:id="rId25"/>
    <p:sldLayoutId id="2147483876" r:id="rId26"/>
    <p:sldLayoutId id="2147483877" r:id="rId27"/>
    <p:sldLayoutId id="2147483878" r:id="rId28"/>
    <p:sldLayoutId id="2147483879" r:id="rId29"/>
    <p:sldLayoutId id="2147483880" r:id="rId30"/>
    <p:sldLayoutId id="2147483881" r:id="rId31"/>
    <p:sldLayoutId id="2147483882" r:id="rId32"/>
    <p:sldLayoutId id="2147483883" r:id="rId33"/>
    <p:sldLayoutId id="2147483884" r:id="rId34"/>
    <p:sldLayoutId id="2147483885" r:id="rId35"/>
    <p:sldLayoutId id="2147483886" r:id="rId36"/>
    <p:sldLayoutId id="2147483887" r:id="rId37"/>
    <p:sldLayoutId id="2147483888" r:id="rId38"/>
    <p:sldLayoutId id="2147483889" r:id="rId39"/>
    <p:sldLayoutId id="2147483890" r:id="rId40"/>
    <p:sldLayoutId id="2147483891" r:id="rId41"/>
    <p:sldLayoutId id="2147483892" r:id="rId42"/>
    <p:sldLayoutId id="2147483893" r:id="rId4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C9E8E4-1E96-474D-87ED-B77838A4D973}" type="slidenum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851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1" r:id="rId13"/>
    <p:sldLayoutId id="2147483952" r:id="rId14"/>
    <p:sldLayoutId id="2147483953" r:id="rId15"/>
    <p:sldLayoutId id="2147483954" r:id="rId16"/>
    <p:sldLayoutId id="2147483955" r:id="rId17"/>
    <p:sldLayoutId id="2147483956" r:id="rId18"/>
    <p:sldLayoutId id="2147483957" r:id="rId19"/>
    <p:sldLayoutId id="2147483958" r:id="rId20"/>
    <p:sldLayoutId id="2147483959" r:id="rId21"/>
    <p:sldLayoutId id="2147483960" r:id="rId22"/>
    <p:sldLayoutId id="2147483961" r:id="rId23"/>
    <p:sldLayoutId id="2147483962" r:id="rId24"/>
    <p:sldLayoutId id="2147483963" r:id="rId25"/>
    <p:sldLayoutId id="2147483964" r:id="rId26"/>
    <p:sldLayoutId id="2147483965" r:id="rId27"/>
    <p:sldLayoutId id="2147483966" r:id="rId28"/>
    <p:sldLayoutId id="2147483967" r:id="rId29"/>
    <p:sldLayoutId id="2147483968" r:id="rId30"/>
    <p:sldLayoutId id="2147483969" r:id="rId31"/>
    <p:sldLayoutId id="2147483970" r:id="rId32"/>
    <p:sldLayoutId id="2147483971" r:id="rId33"/>
    <p:sldLayoutId id="2147483972" r:id="rId34"/>
    <p:sldLayoutId id="2147483973" r:id="rId35"/>
    <p:sldLayoutId id="2147483974" r:id="rId36"/>
    <p:sldLayoutId id="2147483975" r:id="rId37"/>
    <p:sldLayoutId id="2147483976" r:id="rId38"/>
    <p:sldLayoutId id="2147483977" r:id="rId39"/>
    <p:sldLayoutId id="2147483978" r:id="rId40"/>
    <p:sldLayoutId id="2147483979" r:id="rId41"/>
    <p:sldLayoutId id="2147483980" r:id="rId42"/>
    <p:sldLayoutId id="2147483981" r:id="rId4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C9E8E4-1E96-474D-87ED-B77838A4D973}" type="slidenum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19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12" r:id="rId30"/>
    <p:sldLayoutId id="2147484013" r:id="rId31"/>
    <p:sldLayoutId id="2147484014" r:id="rId32"/>
    <p:sldLayoutId id="2147484015" r:id="rId33"/>
    <p:sldLayoutId id="2147484016" r:id="rId34"/>
    <p:sldLayoutId id="2147484017" r:id="rId35"/>
    <p:sldLayoutId id="2147484018" r:id="rId36"/>
    <p:sldLayoutId id="2147484019" r:id="rId37"/>
    <p:sldLayoutId id="2147484020" r:id="rId38"/>
    <p:sldLayoutId id="2147484021" r:id="rId39"/>
    <p:sldLayoutId id="2147484022" r:id="rId40"/>
    <p:sldLayoutId id="2147484023" r:id="rId41"/>
    <p:sldLayoutId id="2147484024" r:id="rId42"/>
    <p:sldLayoutId id="2147484025" r:id="rId4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C9E8E4-1E96-474D-87ED-B77838A4D973}" type="slidenum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540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  <p:sldLayoutId id="2147484037" r:id="rId11"/>
    <p:sldLayoutId id="2147484038" r:id="rId12"/>
    <p:sldLayoutId id="2147484039" r:id="rId13"/>
    <p:sldLayoutId id="2147484040" r:id="rId14"/>
    <p:sldLayoutId id="2147484041" r:id="rId15"/>
    <p:sldLayoutId id="2147484042" r:id="rId16"/>
    <p:sldLayoutId id="2147484043" r:id="rId17"/>
    <p:sldLayoutId id="2147484044" r:id="rId18"/>
    <p:sldLayoutId id="2147484045" r:id="rId19"/>
    <p:sldLayoutId id="2147484046" r:id="rId20"/>
    <p:sldLayoutId id="2147484047" r:id="rId21"/>
    <p:sldLayoutId id="2147484048" r:id="rId22"/>
    <p:sldLayoutId id="2147484049" r:id="rId23"/>
    <p:sldLayoutId id="2147484050" r:id="rId24"/>
    <p:sldLayoutId id="2147484051" r:id="rId25"/>
    <p:sldLayoutId id="2147484052" r:id="rId26"/>
    <p:sldLayoutId id="2147484053" r:id="rId27"/>
    <p:sldLayoutId id="2147484054" r:id="rId28"/>
    <p:sldLayoutId id="2147484055" r:id="rId29"/>
    <p:sldLayoutId id="2147484056" r:id="rId30"/>
    <p:sldLayoutId id="2147484057" r:id="rId31"/>
    <p:sldLayoutId id="2147484058" r:id="rId32"/>
    <p:sldLayoutId id="2147484059" r:id="rId33"/>
    <p:sldLayoutId id="2147484060" r:id="rId34"/>
    <p:sldLayoutId id="2147484061" r:id="rId35"/>
    <p:sldLayoutId id="2147484062" r:id="rId36"/>
    <p:sldLayoutId id="2147484063" r:id="rId37"/>
    <p:sldLayoutId id="2147484064" r:id="rId38"/>
    <p:sldLayoutId id="2147484065" r:id="rId39"/>
    <p:sldLayoutId id="2147484066" r:id="rId40"/>
    <p:sldLayoutId id="2147484067" r:id="rId41"/>
    <p:sldLayoutId id="2147484068" r:id="rId42"/>
    <p:sldLayoutId id="2147484069" r:id="rId4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olf-svoboda.ucoz.ru/_nw/1/24416.jpg" TargetMode="External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5.xml"/><Relationship Id="rId5" Type="http://schemas.openxmlformats.org/officeDocument/2006/relationships/image" Target="../media/image22.wmf"/><Relationship Id="rId4" Type="http://schemas.openxmlformats.org/officeDocument/2006/relationships/image" Target="../media/image21.w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hyperlink" Target="http://cs407729.userapi.com/v407729782/3493/Auv0PD1POac.jpg" TargetMode="External"/><Relationship Id="rId1" Type="http://schemas.openxmlformats.org/officeDocument/2006/relationships/slideLayout" Target="../slideLayouts/slideLayout290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hyperlink" Target="http://img1.liveinternet.ru/images/attach/b/2/24/189/24189710_komar.jpg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1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22313" y="1820863"/>
            <a:ext cx="7772400" cy="1828800"/>
          </a:xfrm>
        </p:spPr>
        <p:txBody>
          <a:bodyPr/>
          <a:lstStyle/>
          <a:p>
            <a:pPr eaLnBrk="1" hangingPunct="1"/>
            <a:endParaRPr lang="ru-RU" altLang="ru-RU" smtClean="0"/>
          </a:p>
        </p:txBody>
      </p:sp>
      <p:sp>
        <p:nvSpPr>
          <p:cNvPr id="4761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22313" y="3684588"/>
            <a:ext cx="7772400" cy="914400"/>
          </a:xfrm>
        </p:spPr>
        <p:txBody>
          <a:bodyPr/>
          <a:lstStyle/>
          <a:p>
            <a:pPr eaLnBrk="1" hangingPunct="1">
              <a:buFont typeface="Wingdings 2" pitchFamily="18" charset="2"/>
              <a:buNone/>
            </a:pPr>
            <a:endParaRPr lang="ru-RU" altLang="ru-RU" smtClean="0"/>
          </a:p>
        </p:txBody>
      </p:sp>
      <p:pic>
        <p:nvPicPr>
          <p:cNvPr id="476164" name="Picture 4" descr="Слайд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0"/>
            <a:ext cx="5410200" cy="708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6165" name="Picture 6" descr="http://wolf-svoboda.ucoz.ru/_nw/1/24416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57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6166" name="Picture 6" descr="http://wolf-svoboda.ucoz.ru/_nw/1/24416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52400"/>
            <a:ext cx="457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4837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2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0"/>
            <a:ext cx="7772400" cy="1143000"/>
          </a:xfrm>
        </p:spPr>
        <p:txBody>
          <a:bodyPr lIns="82278" tIns="41140" rIns="82278" bIns="41140"/>
          <a:lstStyle/>
          <a:p>
            <a:pPr eaLnBrk="1" hangingPunct="1">
              <a:defRPr/>
            </a:pPr>
            <a:r>
              <a:rPr lang="ru-RU" sz="280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нактивированные вакцины</a:t>
            </a:r>
          </a:p>
        </p:txBody>
      </p:sp>
      <p:sp>
        <p:nvSpPr>
          <p:cNvPr id="518147" name="Rectangle 3"/>
          <p:cNvSpPr>
            <a:spLocks noChangeArrowheads="1"/>
          </p:cNvSpPr>
          <p:nvPr/>
        </p:nvSpPr>
        <p:spPr bwMode="auto">
          <a:xfrm>
            <a:off x="2124075" y="5597525"/>
            <a:ext cx="19304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Эффективность</a:t>
            </a:r>
          </a:p>
        </p:txBody>
      </p:sp>
      <p:sp>
        <p:nvSpPr>
          <p:cNvPr id="518148" name="Rectangle 4"/>
          <p:cNvSpPr>
            <a:spLocks noChangeArrowheads="1"/>
          </p:cNvSpPr>
          <p:nvPr/>
        </p:nvSpPr>
        <p:spPr bwMode="auto">
          <a:xfrm>
            <a:off x="2135188" y="4956175"/>
            <a:ext cx="1960562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defTabSz="817563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Количество антигенов</a:t>
            </a:r>
          </a:p>
        </p:txBody>
      </p:sp>
      <p:sp>
        <p:nvSpPr>
          <p:cNvPr id="518149" name="Rectangle 5"/>
          <p:cNvSpPr>
            <a:spLocks noChangeArrowheads="1"/>
          </p:cNvSpPr>
          <p:nvPr/>
        </p:nvSpPr>
        <p:spPr bwMode="auto">
          <a:xfrm>
            <a:off x="2155825" y="4376738"/>
            <a:ext cx="195262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defTabSz="817563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Побочные реакции</a:t>
            </a:r>
          </a:p>
        </p:txBody>
      </p:sp>
      <p:sp>
        <p:nvSpPr>
          <p:cNvPr id="518150" name="Rectangle 6"/>
          <p:cNvSpPr>
            <a:spLocks noChangeArrowheads="1"/>
          </p:cNvSpPr>
          <p:nvPr/>
        </p:nvSpPr>
        <p:spPr bwMode="auto">
          <a:xfrm>
            <a:off x="2155825" y="2235200"/>
            <a:ext cx="1898650" cy="195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n-US" altLang="ru-RU" sz="21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18151" name="Rectangle 7"/>
          <p:cNvSpPr>
            <a:spLocks noChangeArrowheads="1"/>
          </p:cNvSpPr>
          <p:nvPr/>
        </p:nvSpPr>
        <p:spPr bwMode="auto">
          <a:xfrm>
            <a:off x="2155825" y="1677988"/>
            <a:ext cx="1898650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n-US" altLang="ru-RU" sz="21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18152" name="Rectangle 8"/>
          <p:cNvSpPr>
            <a:spLocks noChangeArrowheads="1"/>
          </p:cNvSpPr>
          <p:nvPr/>
        </p:nvSpPr>
        <p:spPr bwMode="auto">
          <a:xfrm>
            <a:off x="5949950" y="5580063"/>
            <a:ext cx="281463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Высокая</a:t>
            </a:r>
          </a:p>
        </p:txBody>
      </p:sp>
      <p:sp>
        <p:nvSpPr>
          <p:cNvPr id="518153" name="Rectangle 9"/>
          <p:cNvSpPr>
            <a:spLocks noChangeArrowheads="1"/>
          </p:cNvSpPr>
          <p:nvPr/>
        </p:nvSpPr>
        <p:spPr bwMode="auto">
          <a:xfrm>
            <a:off x="4054475" y="5580063"/>
            <a:ext cx="189547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Средняя</a:t>
            </a:r>
          </a:p>
        </p:txBody>
      </p:sp>
      <p:sp>
        <p:nvSpPr>
          <p:cNvPr id="518154" name="Rectangle 10"/>
          <p:cNvSpPr>
            <a:spLocks noChangeArrowheads="1"/>
          </p:cNvSpPr>
          <p:nvPr/>
        </p:nvSpPr>
        <p:spPr bwMode="auto">
          <a:xfrm>
            <a:off x="5949950" y="4710113"/>
            <a:ext cx="2814638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z="2100" b="1" smtClean="0">
                <a:solidFill>
                  <a:srgbClr val="000000"/>
                </a:solidFill>
              </a:rPr>
              <a:t>12</a:t>
            </a:r>
          </a:p>
        </p:txBody>
      </p:sp>
      <p:sp>
        <p:nvSpPr>
          <p:cNvPr id="518155" name="Rectangle 11"/>
          <p:cNvSpPr>
            <a:spLocks noChangeArrowheads="1"/>
          </p:cNvSpPr>
          <p:nvPr/>
        </p:nvSpPr>
        <p:spPr bwMode="auto">
          <a:xfrm>
            <a:off x="4852988" y="5014913"/>
            <a:ext cx="3683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z="2100" b="1" smtClean="0">
                <a:solidFill>
                  <a:srgbClr val="000000"/>
                </a:solidFill>
              </a:rPr>
              <a:t>6</a:t>
            </a:r>
          </a:p>
        </p:txBody>
      </p:sp>
      <p:sp>
        <p:nvSpPr>
          <p:cNvPr id="518156" name="Rectangle 12"/>
          <p:cNvSpPr>
            <a:spLocks noChangeArrowheads="1"/>
          </p:cNvSpPr>
          <p:nvPr/>
        </p:nvSpPr>
        <p:spPr bwMode="auto">
          <a:xfrm>
            <a:off x="5949950" y="4186238"/>
            <a:ext cx="28146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n-US" altLang="ru-RU" sz="21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18157" name="Rectangle 13"/>
          <p:cNvSpPr>
            <a:spLocks noChangeArrowheads="1"/>
          </p:cNvSpPr>
          <p:nvPr/>
        </p:nvSpPr>
        <p:spPr bwMode="auto">
          <a:xfrm>
            <a:off x="4040188" y="4176713"/>
            <a:ext cx="189547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n-US" altLang="ru-RU" sz="21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18158" name="Rectangle 14"/>
          <p:cNvSpPr>
            <a:spLocks noChangeArrowheads="1"/>
          </p:cNvSpPr>
          <p:nvPr/>
        </p:nvSpPr>
        <p:spPr bwMode="auto">
          <a:xfrm>
            <a:off x="5949950" y="2235200"/>
            <a:ext cx="2814638" cy="203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z="1300" b="1" smtClean="0">
                <a:solidFill>
                  <a:srgbClr val="000000"/>
                </a:solidFill>
              </a:rPr>
              <a:t>Наружные антигены</a:t>
            </a:r>
          </a:p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100" b="1" smtClean="0">
              <a:solidFill>
                <a:srgbClr val="000000"/>
              </a:solidFill>
            </a:endParaRPr>
          </a:p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100" b="1" smtClean="0">
              <a:solidFill>
                <a:srgbClr val="000000"/>
              </a:solidFill>
            </a:endParaRPr>
          </a:p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100" b="1" smtClean="0">
              <a:solidFill>
                <a:srgbClr val="000000"/>
              </a:solidFill>
            </a:endParaRPr>
          </a:p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z="1300" b="1" smtClean="0">
                <a:solidFill>
                  <a:srgbClr val="000000"/>
                </a:solidFill>
              </a:rPr>
              <a:t>Внутренние белки – типоспецифические антигены</a:t>
            </a:r>
          </a:p>
        </p:txBody>
      </p:sp>
      <p:sp>
        <p:nvSpPr>
          <p:cNvPr id="518159" name="Rectangle 15"/>
          <p:cNvSpPr>
            <a:spLocks noChangeArrowheads="1"/>
          </p:cNvSpPr>
          <p:nvPr/>
        </p:nvSpPr>
        <p:spPr bwMode="auto">
          <a:xfrm>
            <a:off x="4054475" y="2235200"/>
            <a:ext cx="1895475" cy="195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z="1300" b="1" smtClean="0">
                <a:solidFill>
                  <a:srgbClr val="000000"/>
                </a:solidFill>
              </a:rPr>
              <a:t>Наружные антигены</a:t>
            </a: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300" b="1" smtClean="0">
              <a:solidFill>
                <a:srgbClr val="000000"/>
              </a:solidFill>
            </a:endParaRPr>
          </a:p>
        </p:txBody>
      </p:sp>
      <p:sp>
        <p:nvSpPr>
          <p:cNvPr id="518160" name="Rectangle 16"/>
          <p:cNvSpPr>
            <a:spLocks noChangeArrowheads="1"/>
          </p:cNvSpPr>
          <p:nvPr/>
        </p:nvSpPr>
        <p:spPr bwMode="auto">
          <a:xfrm>
            <a:off x="5916613" y="1643063"/>
            <a:ext cx="29162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Расщепленные (в России не производятся)</a:t>
            </a:r>
          </a:p>
        </p:txBody>
      </p:sp>
      <p:sp>
        <p:nvSpPr>
          <p:cNvPr id="518161" name="Rectangle 17"/>
          <p:cNvSpPr>
            <a:spLocks noChangeArrowheads="1"/>
          </p:cNvSpPr>
          <p:nvPr/>
        </p:nvSpPr>
        <p:spPr bwMode="auto">
          <a:xfrm>
            <a:off x="4037013" y="1733550"/>
            <a:ext cx="196215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Субъединичные</a:t>
            </a:r>
          </a:p>
        </p:txBody>
      </p:sp>
      <p:sp>
        <p:nvSpPr>
          <p:cNvPr id="518162" name="Line 18"/>
          <p:cNvSpPr>
            <a:spLocks noChangeShapeType="1"/>
          </p:cNvSpPr>
          <p:nvPr/>
        </p:nvSpPr>
        <p:spPr bwMode="auto">
          <a:xfrm>
            <a:off x="2155825" y="1670050"/>
            <a:ext cx="6608763" cy="1588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63" name="Line 19"/>
          <p:cNvSpPr>
            <a:spLocks noChangeShapeType="1"/>
          </p:cNvSpPr>
          <p:nvPr/>
        </p:nvSpPr>
        <p:spPr bwMode="auto">
          <a:xfrm>
            <a:off x="2155825" y="2235200"/>
            <a:ext cx="6608763" cy="15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64" name="Line 20"/>
          <p:cNvSpPr>
            <a:spLocks noChangeShapeType="1"/>
          </p:cNvSpPr>
          <p:nvPr/>
        </p:nvSpPr>
        <p:spPr bwMode="auto">
          <a:xfrm>
            <a:off x="2155825" y="4405313"/>
            <a:ext cx="6600825" cy="158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65" name="Line 21"/>
          <p:cNvSpPr>
            <a:spLocks noChangeShapeType="1"/>
          </p:cNvSpPr>
          <p:nvPr/>
        </p:nvSpPr>
        <p:spPr bwMode="auto">
          <a:xfrm>
            <a:off x="2155825" y="4938713"/>
            <a:ext cx="6608763" cy="158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66" name="Line 22"/>
          <p:cNvSpPr>
            <a:spLocks noChangeShapeType="1"/>
          </p:cNvSpPr>
          <p:nvPr/>
        </p:nvSpPr>
        <p:spPr bwMode="auto">
          <a:xfrm>
            <a:off x="2155825" y="5580063"/>
            <a:ext cx="6608763" cy="158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67" name="Line 23"/>
          <p:cNvSpPr>
            <a:spLocks noChangeShapeType="1"/>
          </p:cNvSpPr>
          <p:nvPr/>
        </p:nvSpPr>
        <p:spPr bwMode="auto">
          <a:xfrm>
            <a:off x="2155825" y="6005513"/>
            <a:ext cx="6608763" cy="1587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68" name="Line 24"/>
          <p:cNvSpPr>
            <a:spLocks noChangeShapeType="1"/>
          </p:cNvSpPr>
          <p:nvPr/>
        </p:nvSpPr>
        <p:spPr bwMode="auto">
          <a:xfrm>
            <a:off x="2155825" y="1677988"/>
            <a:ext cx="1588" cy="432752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69" name="Line 25"/>
          <p:cNvSpPr>
            <a:spLocks noChangeShapeType="1"/>
          </p:cNvSpPr>
          <p:nvPr/>
        </p:nvSpPr>
        <p:spPr bwMode="auto">
          <a:xfrm>
            <a:off x="5949950" y="1677988"/>
            <a:ext cx="0" cy="432752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70" name="Line 26"/>
          <p:cNvSpPr>
            <a:spLocks noChangeShapeType="1"/>
          </p:cNvSpPr>
          <p:nvPr/>
        </p:nvSpPr>
        <p:spPr bwMode="auto">
          <a:xfrm>
            <a:off x="8764588" y="1677988"/>
            <a:ext cx="3175" cy="432752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71" name="Line 27"/>
          <p:cNvSpPr>
            <a:spLocks noChangeShapeType="1"/>
          </p:cNvSpPr>
          <p:nvPr/>
        </p:nvSpPr>
        <p:spPr bwMode="auto">
          <a:xfrm>
            <a:off x="4054475" y="1677988"/>
            <a:ext cx="1588" cy="432752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72" name="Rectangle 28"/>
          <p:cNvSpPr>
            <a:spLocks noChangeArrowheads="1"/>
          </p:cNvSpPr>
          <p:nvPr/>
        </p:nvSpPr>
        <p:spPr bwMode="auto">
          <a:xfrm>
            <a:off x="339725" y="1209675"/>
            <a:ext cx="1558925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>
            <a:spAutoFit/>
          </a:bodyPr>
          <a:lstStyle/>
          <a:p>
            <a:pPr algn="ctr" defTabSz="817563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ru-RU" altLang="ru-RU" sz="2100" b="1" smtClean="0">
                <a:solidFill>
                  <a:srgbClr val="000000"/>
                </a:solidFill>
              </a:rPr>
              <a:t>СТАРЫЕ </a:t>
            </a:r>
          </a:p>
        </p:txBody>
      </p:sp>
      <p:sp>
        <p:nvSpPr>
          <p:cNvPr id="518173" name="Rectangle 29"/>
          <p:cNvSpPr>
            <a:spLocks noChangeArrowheads="1"/>
          </p:cNvSpPr>
          <p:nvPr/>
        </p:nvSpPr>
        <p:spPr bwMode="auto">
          <a:xfrm>
            <a:off x="3557588" y="1149350"/>
            <a:ext cx="4824412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>
            <a:spAutoFit/>
          </a:bodyPr>
          <a:lstStyle/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100" b="1" smtClean="0">
                <a:solidFill>
                  <a:srgbClr val="000000"/>
                </a:solidFill>
              </a:rPr>
              <a:t>НОВЫЕ</a:t>
            </a:r>
          </a:p>
        </p:txBody>
      </p:sp>
      <p:sp>
        <p:nvSpPr>
          <p:cNvPr id="518174" name="Rectangle 30"/>
          <p:cNvSpPr>
            <a:spLocks noChangeArrowheads="1"/>
          </p:cNvSpPr>
          <p:nvPr/>
        </p:nvSpPr>
        <p:spPr bwMode="auto">
          <a:xfrm>
            <a:off x="327025" y="4768850"/>
            <a:ext cx="1676400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Содержат реактогенные липиды</a:t>
            </a:r>
          </a:p>
        </p:txBody>
      </p:sp>
      <p:sp>
        <p:nvSpPr>
          <p:cNvPr id="518175" name="Rectangle 31"/>
          <p:cNvSpPr>
            <a:spLocks noChangeArrowheads="1"/>
          </p:cNvSpPr>
          <p:nvPr/>
        </p:nvSpPr>
        <p:spPr bwMode="auto">
          <a:xfrm>
            <a:off x="327025" y="2263775"/>
            <a:ext cx="1676400" cy="198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0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0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0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0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0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0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0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000" b="1" smtClean="0">
              <a:solidFill>
                <a:srgbClr val="000000"/>
              </a:solidFill>
            </a:endParaRPr>
          </a:p>
          <a:p>
            <a:pPr defTabSz="817563" eaLnBrk="0" fontAlgn="base" hangingPunct="0">
              <a:spcBef>
                <a:spcPct val="20000"/>
              </a:spcBef>
              <a:spcAft>
                <a:spcPct val="0"/>
              </a:spcAft>
            </a:pPr>
            <a:endParaRPr lang="ru-RU" altLang="ru-RU" sz="1000" b="1" smtClean="0">
              <a:solidFill>
                <a:srgbClr val="000000"/>
              </a:solidFill>
            </a:endParaRPr>
          </a:p>
        </p:txBody>
      </p:sp>
      <p:sp>
        <p:nvSpPr>
          <p:cNvPr id="518176" name="Rectangle 32"/>
          <p:cNvSpPr>
            <a:spLocks noChangeArrowheads="1"/>
          </p:cNvSpPr>
          <p:nvPr/>
        </p:nvSpPr>
        <p:spPr bwMode="auto">
          <a:xfrm>
            <a:off x="327025" y="1631950"/>
            <a:ext cx="1676400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Цельно-вирионные</a:t>
            </a:r>
          </a:p>
        </p:txBody>
      </p:sp>
      <p:sp>
        <p:nvSpPr>
          <p:cNvPr id="518177" name="Line 33"/>
          <p:cNvSpPr>
            <a:spLocks noChangeShapeType="1"/>
          </p:cNvSpPr>
          <p:nvPr/>
        </p:nvSpPr>
        <p:spPr bwMode="auto">
          <a:xfrm>
            <a:off x="327025" y="1670050"/>
            <a:ext cx="16764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78" name="Line 34"/>
          <p:cNvSpPr>
            <a:spLocks noChangeShapeType="1"/>
          </p:cNvSpPr>
          <p:nvPr/>
        </p:nvSpPr>
        <p:spPr bwMode="auto">
          <a:xfrm>
            <a:off x="327025" y="2263775"/>
            <a:ext cx="16764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79" name="Line 35"/>
          <p:cNvSpPr>
            <a:spLocks noChangeShapeType="1"/>
          </p:cNvSpPr>
          <p:nvPr/>
        </p:nvSpPr>
        <p:spPr bwMode="auto">
          <a:xfrm>
            <a:off x="327025" y="4410075"/>
            <a:ext cx="16764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80" name="Line 36"/>
          <p:cNvSpPr>
            <a:spLocks noChangeShapeType="1"/>
          </p:cNvSpPr>
          <p:nvPr/>
        </p:nvSpPr>
        <p:spPr bwMode="auto">
          <a:xfrm>
            <a:off x="327025" y="6013450"/>
            <a:ext cx="16764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81" name="Line 37"/>
          <p:cNvSpPr>
            <a:spLocks noChangeShapeType="1"/>
          </p:cNvSpPr>
          <p:nvPr/>
        </p:nvSpPr>
        <p:spPr bwMode="auto">
          <a:xfrm>
            <a:off x="327025" y="1663700"/>
            <a:ext cx="0" cy="434975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82" name="Line 38"/>
          <p:cNvSpPr>
            <a:spLocks noChangeShapeType="1"/>
          </p:cNvSpPr>
          <p:nvPr/>
        </p:nvSpPr>
        <p:spPr bwMode="auto">
          <a:xfrm>
            <a:off x="2003425" y="1673225"/>
            <a:ext cx="0" cy="434022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pic>
        <p:nvPicPr>
          <p:cNvPr id="518183" name="Picture 39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8" y="2508250"/>
            <a:ext cx="1585912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8184" name="Picture 40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5450" y="2535238"/>
            <a:ext cx="1584325" cy="145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8185" name="Picture 41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3850" y="2535238"/>
            <a:ext cx="1524000" cy="144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8186" name="Line 42"/>
          <p:cNvSpPr>
            <a:spLocks noChangeShapeType="1"/>
          </p:cNvSpPr>
          <p:nvPr/>
        </p:nvSpPr>
        <p:spPr bwMode="auto">
          <a:xfrm flipH="1">
            <a:off x="4497388" y="2500313"/>
            <a:ext cx="76200" cy="4572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87" name="Line 43"/>
          <p:cNvSpPr>
            <a:spLocks noChangeShapeType="1"/>
          </p:cNvSpPr>
          <p:nvPr/>
        </p:nvSpPr>
        <p:spPr bwMode="auto">
          <a:xfrm>
            <a:off x="4573588" y="2500313"/>
            <a:ext cx="220662" cy="21272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88" name="Line 44"/>
          <p:cNvSpPr>
            <a:spLocks noChangeShapeType="1"/>
          </p:cNvSpPr>
          <p:nvPr/>
        </p:nvSpPr>
        <p:spPr bwMode="auto">
          <a:xfrm flipH="1">
            <a:off x="7011988" y="2465388"/>
            <a:ext cx="123825" cy="339725"/>
          </a:xfrm>
          <a:prstGeom prst="line">
            <a:avLst/>
          </a:prstGeom>
          <a:noFill/>
          <a:ln w="12700">
            <a:solidFill>
              <a:srgbClr val="00004E"/>
            </a:solidFill>
            <a:round/>
            <a:headEnd type="none" w="sm" len="sm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89" name="Line 45"/>
          <p:cNvSpPr>
            <a:spLocks noChangeShapeType="1"/>
          </p:cNvSpPr>
          <p:nvPr/>
        </p:nvSpPr>
        <p:spPr bwMode="auto">
          <a:xfrm>
            <a:off x="7131050" y="2463800"/>
            <a:ext cx="338138" cy="265113"/>
          </a:xfrm>
          <a:prstGeom prst="line">
            <a:avLst/>
          </a:prstGeom>
          <a:noFill/>
          <a:ln w="12700">
            <a:solidFill>
              <a:srgbClr val="00004E"/>
            </a:solidFill>
            <a:round/>
            <a:headEnd type="none" w="sm" len="sm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90" name="Line 46"/>
          <p:cNvSpPr>
            <a:spLocks noChangeShapeType="1"/>
          </p:cNvSpPr>
          <p:nvPr/>
        </p:nvSpPr>
        <p:spPr bwMode="auto">
          <a:xfrm flipH="1" flipV="1">
            <a:off x="7240588" y="3643313"/>
            <a:ext cx="149225" cy="376237"/>
          </a:xfrm>
          <a:prstGeom prst="line">
            <a:avLst/>
          </a:prstGeom>
          <a:noFill/>
          <a:ln w="12700">
            <a:solidFill>
              <a:srgbClr val="00004E"/>
            </a:solidFill>
            <a:round/>
            <a:headEnd type="none" w="sm" len="sm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18191" name="Rectangle 47"/>
          <p:cNvSpPr>
            <a:spLocks noChangeArrowheads="1"/>
          </p:cNvSpPr>
          <p:nvPr/>
        </p:nvSpPr>
        <p:spPr bwMode="auto">
          <a:xfrm>
            <a:off x="4945063" y="4418013"/>
            <a:ext cx="2281237" cy="4953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 anchor="ctr" anchorCtr="1"/>
          <a:lstStyle/>
          <a:p>
            <a:pPr algn="ctr" defTabSz="817563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ru-RU" altLang="ru-RU" smtClean="0">
                <a:solidFill>
                  <a:srgbClr val="000000"/>
                </a:solidFill>
              </a:rPr>
              <a:t>Минимальные</a:t>
            </a:r>
          </a:p>
        </p:txBody>
      </p:sp>
      <p:sp>
        <p:nvSpPr>
          <p:cNvPr id="518192" name="Line 48"/>
          <p:cNvSpPr>
            <a:spLocks noChangeShapeType="1"/>
          </p:cNvSpPr>
          <p:nvPr/>
        </p:nvSpPr>
        <p:spPr bwMode="auto">
          <a:xfrm flipV="1">
            <a:off x="7386638" y="3571875"/>
            <a:ext cx="354012" cy="442913"/>
          </a:xfrm>
          <a:prstGeom prst="line">
            <a:avLst/>
          </a:prstGeom>
          <a:noFill/>
          <a:ln w="12700">
            <a:solidFill>
              <a:srgbClr val="00004E"/>
            </a:solidFill>
            <a:round/>
            <a:headEnd type="none" w="sm" len="sm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694260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Изображение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712719" y="0"/>
            <a:ext cx="3405252" cy="108806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0" y="1088069"/>
            <a:ext cx="9144000" cy="156966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spc="50" dirty="0">
                <a:ln w="11430"/>
                <a:solidFill>
                  <a:srgbClr val="FF0000"/>
                </a:solidFill>
                <a:cs typeface="Arial Black"/>
              </a:rPr>
              <a:t>Рекомендации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spc="50" dirty="0">
                <a:ln w="11430"/>
                <a:solidFill>
                  <a:srgbClr val="FF0000"/>
                </a:solidFill>
                <a:cs typeface="Arial Black"/>
              </a:rPr>
              <a:t>о </a:t>
            </a:r>
            <a:r>
              <a:rPr lang="ru-RU" sz="2400" b="1" spc="50" dirty="0" err="1">
                <a:ln w="11430"/>
                <a:solidFill>
                  <a:srgbClr val="FF0000"/>
                </a:solidFill>
                <a:cs typeface="Arial Black"/>
              </a:rPr>
              <a:t>штаммовом</a:t>
            </a:r>
            <a:r>
              <a:rPr lang="ru-RU" sz="2400" b="1" spc="50" dirty="0">
                <a:ln w="11430"/>
                <a:solidFill>
                  <a:srgbClr val="FF0000"/>
                </a:solidFill>
                <a:cs typeface="Arial Black"/>
              </a:rPr>
              <a:t> составе гриппозных вакцин 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spc="50" dirty="0">
                <a:ln w="11430"/>
                <a:solidFill>
                  <a:srgbClr val="FF0000"/>
                </a:solidFill>
                <a:cs typeface="Arial Black"/>
              </a:rPr>
              <a:t> для Северного Полушария</a:t>
            </a:r>
            <a:endParaRPr lang="ru-RU" sz="2400" b="1" dirty="0">
              <a:solidFill>
                <a:prstClr val="black"/>
              </a:solidFill>
              <a:cs typeface="Arial Black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FF0000"/>
                </a:solidFill>
                <a:cs typeface="Arial Black"/>
              </a:rPr>
              <a:t>сезон </a:t>
            </a:r>
            <a:r>
              <a:rPr lang="ru-RU" sz="2400" b="1" dirty="0" smtClean="0">
                <a:solidFill>
                  <a:srgbClr val="FF0000"/>
                </a:solidFill>
                <a:cs typeface="Arial Black"/>
              </a:rPr>
              <a:t>20</a:t>
            </a:r>
            <a:r>
              <a:rPr lang="ru-RU" sz="2400" b="1" dirty="0" smtClean="0">
                <a:solidFill>
                  <a:srgbClr val="FF0000"/>
                </a:solidFill>
                <a:ea typeface="Lucida Grande"/>
                <a:cs typeface="Arial Black"/>
              </a:rPr>
              <a:t>19-2021 </a:t>
            </a:r>
            <a:r>
              <a:rPr lang="ru-RU" sz="2400" b="1" dirty="0">
                <a:solidFill>
                  <a:srgbClr val="FF0000"/>
                </a:solidFill>
                <a:ea typeface="Lucida Grande"/>
                <a:cs typeface="Arial Black"/>
              </a:rPr>
              <a:t>гг.</a:t>
            </a:r>
            <a:endParaRPr lang="ru-RU" sz="2400" b="1" dirty="0">
              <a:solidFill>
                <a:srgbClr val="FF0000"/>
              </a:solidFill>
              <a:cs typeface="Arial Black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92027" y="649624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33249" y="6373138"/>
            <a:ext cx="82107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recommended composition of influenza virus vaccines for use in the 20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Lucida Grande"/>
                <a:cs typeface="Lucida Grande"/>
              </a:rPr>
              <a:t>19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Lucida Grande"/>
                <a:cs typeface="Lucida Grande"/>
              </a:rPr>
              <a:t>-20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Lucida Grande"/>
                <a:cs typeface="Lucida Grande"/>
              </a:rPr>
              <a:t>20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Lucida Grande"/>
                <a:cs typeface="Lucida Grande"/>
              </a:rPr>
              <a:t> northern hemisphere influenza season.2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Lucida Grande"/>
                <a:cs typeface="Lucida Grande"/>
              </a:rPr>
              <a:t> March 20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ea typeface="Lucida Grande"/>
                <a:cs typeface="Lucida Grande"/>
              </a:rPr>
              <a:t>19</a:t>
            </a: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9350" y="2703226"/>
            <a:ext cx="7353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b="1" u="sng" dirty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ХВАЛЕНТНЫХ</a:t>
            </a:r>
            <a:r>
              <a:rPr lang="ru-RU" b="1" dirty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активированных и живых гриппозных вакцин :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0800" y="4123353"/>
            <a:ext cx="49240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b="1" u="sng" dirty="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ТЫРЕХВАЛЕНТНЫХ</a:t>
            </a:r>
            <a:r>
              <a:rPr lang="ru-RU" b="1" dirty="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риппозных вакцин :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650977" y="4538182"/>
            <a:ext cx="641669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/ Brisbane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02/2018 (H1N1) pdm09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/ Kansas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14/2017 (H3N2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/ Colorado /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/2017 (</a:t>
            </a:r>
            <a:r>
              <a:rPr lang="it-IT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ния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 / Victoria / 2/87)</a:t>
            </a:r>
            <a:endParaRPr lang="ru-R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/ Phuket /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73/2013 (</a:t>
            </a:r>
            <a:r>
              <a:rPr lang="it-IT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ния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 / Yamagata / 16/88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650978" y="3108530"/>
            <a:ext cx="5969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/ Brisbane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02/2018 (H1N1) pdm09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/ Kansas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14/2017 (H3N2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 / Colorado /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/2017 (</a:t>
            </a:r>
            <a:r>
              <a:rPr lang="it-IT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ния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 / Victoria / 2/87)</a:t>
            </a:r>
            <a:endParaRPr lang="ru-R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797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194" name="Rectangle 2"/>
          <p:cNvSpPr>
            <a:spLocks noChangeArrowheads="1"/>
          </p:cNvSpPr>
          <p:nvPr/>
        </p:nvSpPr>
        <p:spPr bwMode="auto">
          <a:xfrm>
            <a:off x="876300" y="5549900"/>
            <a:ext cx="18986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1711" tIns="40855" rIns="81711" bIns="40855" anchor="ctr"/>
          <a:lstStyle/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ru-RU" sz="1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20195" name="Rectangle 3"/>
          <p:cNvSpPr>
            <a:spLocks noChangeArrowheads="1"/>
          </p:cNvSpPr>
          <p:nvPr/>
        </p:nvSpPr>
        <p:spPr bwMode="auto">
          <a:xfrm>
            <a:off x="3321050" y="5395913"/>
            <a:ext cx="284638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2000" smtClean="0">
              <a:solidFill>
                <a:srgbClr val="000000"/>
              </a:solidFill>
            </a:endParaRPr>
          </a:p>
        </p:txBody>
      </p:sp>
      <p:sp>
        <p:nvSpPr>
          <p:cNvPr id="200708" name="Rectangle 4"/>
          <p:cNvSpPr>
            <a:spLocks noChangeArrowheads="1"/>
          </p:cNvSpPr>
          <p:nvPr/>
        </p:nvSpPr>
        <p:spPr bwMode="blackWhite">
          <a:xfrm>
            <a:off x="731838" y="228600"/>
            <a:ext cx="6583362" cy="569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82278" tIns="41140" rIns="82278" bIns="41140">
            <a:spAutoFit/>
          </a:bodyPr>
          <a:lstStyle/>
          <a:p>
            <a:pPr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200">
                <a:solidFill>
                  <a:srgbClr val="BBE0E3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  <a:r>
              <a:rPr lang="ru-RU" sz="3200">
                <a:solidFill>
                  <a:srgbClr val="99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быстрый местный ответ</a:t>
            </a:r>
          </a:p>
        </p:txBody>
      </p:sp>
      <p:grpSp>
        <p:nvGrpSpPr>
          <p:cNvPr id="520197" name="Group 5"/>
          <p:cNvGrpSpPr>
            <a:grpSpLocks/>
          </p:cNvGrpSpPr>
          <p:nvPr/>
        </p:nvGrpSpPr>
        <p:grpSpPr bwMode="auto">
          <a:xfrm>
            <a:off x="3444875" y="1336675"/>
            <a:ext cx="2332038" cy="2732088"/>
            <a:chOff x="2061" y="1379"/>
            <a:chExt cx="1469" cy="1721"/>
          </a:xfrm>
        </p:grpSpPr>
        <p:sp>
          <p:nvSpPr>
            <p:cNvPr id="520203" name="Freeform 6"/>
            <p:cNvSpPr>
              <a:spLocks/>
            </p:cNvSpPr>
            <p:nvPr/>
          </p:nvSpPr>
          <p:spPr bwMode="auto">
            <a:xfrm>
              <a:off x="2452" y="1379"/>
              <a:ext cx="1078" cy="1442"/>
            </a:xfrm>
            <a:custGeom>
              <a:avLst/>
              <a:gdLst>
                <a:gd name="T0" fmla="*/ 643 w 1078"/>
                <a:gd name="T1" fmla="*/ 5 h 1442"/>
                <a:gd name="T2" fmla="*/ 781 w 1078"/>
                <a:gd name="T3" fmla="*/ 34 h 1442"/>
                <a:gd name="T4" fmla="*/ 883 w 1078"/>
                <a:gd name="T5" fmla="*/ 81 h 1442"/>
                <a:gd name="T6" fmla="*/ 956 w 1078"/>
                <a:gd name="T7" fmla="*/ 143 h 1442"/>
                <a:gd name="T8" fmla="*/ 1005 w 1078"/>
                <a:gd name="T9" fmla="*/ 218 h 1442"/>
                <a:gd name="T10" fmla="*/ 1036 w 1078"/>
                <a:gd name="T11" fmla="*/ 302 h 1442"/>
                <a:gd name="T12" fmla="*/ 1056 w 1078"/>
                <a:gd name="T13" fmla="*/ 393 h 1442"/>
                <a:gd name="T14" fmla="*/ 1073 w 1078"/>
                <a:gd name="T15" fmla="*/ 535 h 1442"/>
                <a:gd name="T16" fmla="*/ 1073 w 1078"/>
                <a:gd name="T17" fmla="*/ 642 h 1442"/>
                <a:gd name="T18" fmla="*/ 1055 w 1078"/>
                <a:gd name="T19" fmla="*/ 729 h 1442"/>
                <a:gd name="T20" fmla="*/ 1023 w 1078"/>
                <a:gd name="T21" fmla="*/ 803 h 1442"/>
                <a:gd name="T22" fmla="*/ 947 w 1078"/>
                <a:gd name="T23" fmla="*/ 935 h 1442"/>
                <a:gd name="T24" fmla="*/ 898 w 1078"/>
                <a:gd name="T25" fmla="*/ 1044 h 1442"/>
                <a:gd name="T26" fmla="*/ 879 w 1078"/>
                <a:gd name="T27" fmla="*/ 1136 h 1442"/>
                <a:gd name="T28" fmla="*/ 885 w 1078"/>
                <a:gd name="T29" fmla="*/ 1244 h 1442"/>
                <a:gd name="T30" fmla="*/ 891 w 1078"/>
                <a:gd name="T31" fmla="*/ 1366 h 1442"/>
                <a:gd name="T32" fmla="*/ 723 w 1078"/>
                <a:gd name="T33" fmla="*/ 1441 h 1442"/>
                <a:gd name="T34" fmla="*/ 340 w 1078"/>
                <a:gd name="T35" fmla="*/ 1434 h 1442"/>
                <a:gd name="T36" fmla="*/ 330 w 1078"/>
                <a:gd name="T37" fmla="*/ 1320 h 1442"/>
                <a:gd name="T38" fmla="*/ 229 w 1078"/>
                <a:gd name="T39" fmla="*/ 1315 h 1442"/>
                <a:gd name="T40" fmla="*/ 133 w 1078"/>
                <a:gd name="T41" fmla="*/ 1310 h 1442"/>
                <a:gd name="T42" fmla="*/ 106 w 1078"/>
                <a:gd name="T43" fmla="*/ 1289 h 1442"/>
                <a:gd name="T44" fmla="*/ 90 w 1078"/>
                <a:gd name="T45" fmla="*/ 1248 h 1442"/>
                <a:gd name="T46" fmla="*/ 90 w 1078"/>
                <a:gd name="T47" fmla="*/ 1126 h 1442"/>
                <a:gd name="T48" fmla="*/ 83 w 1078"/>
                <a:gd name="T49" fmla="*/ 1090 h 1442"/>
                <a:gd name="T50" fmla="*/ 90 w 1078"/>
                <a:gd name="T51" fmla="*/ 1064 h 1442"/>
                <a:gd name="T52" fmla="*/ 70 w 1078"/>
                <a:gd name="T53" fmla="*/ 1040 h 1442"/>
                <a:gd name="T54" fmla="*/ 68 w 1078"/>
                <a:gd name="T55" fmla="*/ 1015 h 1442"/>
                <a:gd name="T56" fmla="*/ 76 w 1078"/>
                <a:gd name="T57" fmla="*/ 965 h 1442"/>
                <a:gd name="T58" fmla="*/ 22 w 1078"/>
                <a:gd name="T59" fmla="*/ 948 h 1442"/>
                <a:gd name="T60" fmla="*/ 8 w 1078"/>
                <a:gd name="T61" fmla="*/ 942 h 1442"/>
                <a:gd name="T62" fmla="*/ 5 w 1078"/>
                <a:gd name="T63" fmla="*/ 898 h 1442"/>
                <a:gd name="T64" fmla="*/ 55 w 1078"/>
                <a:gd name="T65" fmla="*/ 786 h 1442"/>
                <a:gd name="T66" fmla="*/ 108 w 1078"/>
                <a:gd name="T67" fmla="*/ 657 h 1442"/>
                <a:gd name="T68" fmla="*/ 108 w 1078"/>
                <a:gd name="T69" fmla="*/ 585 h 1442"/>
                <a:gd name="T70" fmla="*/ 82 w 1078"/>
                <a:gd name="T71" fmla="*/ 519 h 1442"/>
                <a:gd name="T72" fmla="*/ 86 w 1078"/>
                <a:gd name="T73" fmla="*/ 423 h 1442"/>
                <a:gd name="T74" fmla="*/ 115 w 1078"/>
                <a:gd name="T75" fmla="*/ 319 h 1442"/>
                <a:gd name="T76" fmla="*/ 155 w 1078"/>
                <a:gd name="T77" fmla="*/ 231 h 1442"/>
                <a:gd name="T78" fmla="*/ 205 w 1078"/>
                <a:gd name="T79" fmla="*/ 156 h 1442"/>
                <a:gd name="T80" fmla="*/ 266 w 1078"/>
                <a:gd name="T81" fmla="*/ 96 h 1442"/>
                <a:gd name="T82" fmla="*/ 337 w 1078"/>
                <a:gd name="T83" fmla="*/ 50 h 1442"/>
                <a:gd name="T84" fmla="*/ 418 w 1078"/>
                <a:gd name="T85" fmla="*/ 18 h 1442"/>
                <a:gd name="T86" fmla="*/ 512 w 1078"/>
                <a:gd name="T87" fmla="*/ 3 h 144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78"/>
                <a:gd name="T133" fmla="*/ 0 h 1442"/>
                <a:gd name="T134" fmla="*/ 1078 w 1078"/>
                <a:gd name="T135" fmla="*/ 1442 h 144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78" h="1442">
                  <a:moveTo>
                    <a:pt x="559" y="0"/>
                  </a:moveTo>
                  <a:lnTo>
                    <a:pt x="643" y="5"/>
                  </a:lnTo>
                  <a:lnTo>
                    <a:pt x="717" y="17"/>
                  </a:lnTo>
                  <a:lnTo>
                    <a:pt x="781" y="34"/>
                  </a:lnTo>
                  <a:lnTo>
                    <a:pt x="835" y="56"/>
                  </a:lnTo>
                  <a:lnTo>
                    <a:pt x="883" y="81"/>
                  </a:lnTo>
                  <a:lnTo>
                    <a:pt x="922" y="110"/>
                  </a:lnTo>
                  <a:lnTo>
                    <a:pt x="956" y="143"/>
                  </a:lnTo>
                  <a:lnTo>
                    <a:pt x="981" y="180"/>
                  </a:lnTo>
                  <a:lnTo>
                    <a:pt x="1005" y="218"/>
                  </a:lnTo>
                  <a:lnTo>
                    <a:pt x="1021" y="259"/>
                  </a:lnTo>
                  <a:lnTo>
                    <a:pt x="1036" y="302"/>
                  </a:lnTo>
                  <a:lnTo>
                    <a:pt x="1047" y="348"/>
                  </a:lnTo>
                  <a:lnTo>
                    <a:pt x="1056" y="393"/>
                  </a:lnTo>
                  <a:lnTo>
                    <a:pt x="1063" y="440"/>
                  </a:lnTo>
                  <a:lnTo>
                    <a:pt x="1073" y="535"/>
                  </a:lnTo>
                  <a:lnTo>
                    <a:pt x="1077" y="591"/>
                  </a:lnTo>
                  <a:lnTo>
                    <a:pt x="1073" y="642"/>
                  </a:lnTo>
                  <a:lnTo>
                    <a:pt x="1065" y="688"/>
                  </a:lnTo>
                  <a:lnTo>
                    <a:pt x="1055" y="729"/>
                  </a:lnTo>
                  <a:lnTo>
                    <a:pt x="1041" y="767"/>
                  </a:lnTo>
                  <a:lnTo>
                    <a:pt x="1023" y="803"/>
                  </a:lnTo>
                  <a:lnTo>
                    <a:pt x="987" y="870"/>
                  </a:lnTo>
                  <a:lnTo>
                    <a:pt x="947" y="935"/>
                  </a:lnTo>
                  <a:lnTo>
                    <a:pt x="913" y="1005"/>
                  </a:lnTo>
                  <a:lnTo>
                    <a:pt x="898" y="1044"/>
                  </a:lnTo>
                  <a:lnTo>
                    <a:pt x="887" y="1089"/>
                  </a:lnTo>
                  <a:lnTo>
                    <a:pt x="879" y="1136"/>
                  </a:lnTo>
                  <a:lnTo>
                    <a:pt x="875" y="1189"/>
                  </a:lnTo>
                  <a:lnTo>
                    <a:pt x="885" y="1244"/>
                  </a:lnTo>
                  <a:lnTo>
                    <a:pt x="890" y="1303"/>
                  </a:lnTo>
                  <a:lnTo>
                    <a:pt x="891" y="1366"/>
                  </a:lnTo>
                  <a:lnTo>
                    <a:pt x="890" y="1434"/>
                  </a:lnTo>
                  <a:lnTo>
                    <a:pt x="723" y="1441"/>
                  </a:lnTo>
                  <a:lnTo>
                    <a:pt x="556" y="1441"/>
                  </a:lnTo>
                  <a:lnTo>
                    <a:pt x="340" y="1434"/>
                  </a:lnTo>
                  <a:lnTo>
                    <a:pt x="333" y="1341"/>
                  </a:lnTo>
                  <a:lnTo>
                    <a:pt x="330" y="1320"/>
                  </a:lnTo>
                  <a:lnTo>
                    <a:pt x="326" y="1314"/>
                  </a:lnTo>
                  <a:lnTo>
                    <a:pt x="229" y="1315"/>
                  </a:lnTo>
                  <a:lnTo>
                    <a:pt x="182" y="1314"/>
                  </a:lnTo>
                  <a:lnTo>
                    <a:pt x="133" y="1310"/>
                  </a:lnTo>
                  <a:lnTo>
                    <a:pt x="119" y="1300"/>
                  </a:lnTo>
                  <a:lnTo>
                    <a:pt x="106" y="1289"/>
                  </a:lnTo>
                  <a:lnTo>
                    <a:pt x="97" y="1270"/>
                  </a:lnTo>
                  <a:lnTo>
                    <a:pt x="90" y="1248"/>
                  </a:lnTo>
                  <a:lnTo>
                    <a:pt x="94" y="1181"/>
                  </a:lnTo>
                  <a:lnTo>
                    <a:pt x="90" y="1126"/>
                  </a:lnTo>
                  <a:lnTo>
                    <a:pt x="85" y="1107"/>
                  </a:lnTo>
                  <a:lnTo>
                    <a:pt x="83" y="1090"/>
                  </a:lnTo>
                  <a:lnTo>
                    <a:pt x="85" y="1076"/>
                  </a:lnTo>
                  <a:lnTo>
                    <a:pt x="90" y="1064"/>
                  </a:lnTo>
                  <a:lnTo>
                    <a:pt x="79" y="1052"/>
                  </a:lnTo>
                  <a:lnTo>
                    <a:pt x="70" y="1040"/>
                  </a:lnTo>
                  <a:lnTo>
                    <a:pt x="67" y="1027"/>
                  </a:lnTo>
                  <a:lnTo>
                    <a:pt x="68" y="1015"/>
                  </a:lnTo>
                  <a:lnTo>
                    <a:pt x="75" y="981"/>
                  </a:lnTo>
                  <a:lnTo>
                    <a:pt x="76" y="965"/>
                  </a:lnTo>
                  <a:lnTo>
                    <a:pt x="75" y="952"/>
                  </a:lnTo>
                  <a:lnTo>
                    <a:pt x="22" y="948"/>
                  </a:lnTo>
                  <a:lnTo>
                    <a:pt x="14" y="947"/>
                  </a:lnTo>
                  <a:lnTo>
                    <a:pt x="8" y="942"/>
                  </a:lnTo>
                  <a:lnTo>
                    <a:pt x="0" y="923"/>
                  </a:lnTo>
                  <a:lnTo>
                    <a:pt x="5" y="898"/>
                  </a:lnTo>
                  <a:lnTo>
                    <a:pt x="18" y="866"/>
                  </a:lnTo>
                  <a:lnTo>
                    <a:pt x="55" y="786"/>
                  </a:lnTo>
                  <a:lnTo>
                    <a:pt x="94" y="699"/>
                  </a:lnTo>
                  <a:lnTo>
                    <a:pt x="108" y="657"/>
                  </a:lnTo>
                  <a:lnTo>
                    <a:pt x="115" y="620"/>
                  </a:lnTo>
                  <a:lnTo>
                    <a:pt x="108" y="585"/>
                  </a:lnTo>
                  <a:lnTo>
                    <a:pt x="93" y="553"/>
                  </a:lnTo>
                  <a:lnTo>
                    <a:pt x="82" y="519"/>
                  </a:lnTo>
                  <a:lnTo>
                    <a:pt x="75" y="481"/>
                  </a:lnTo>
                  <a:lnTo>
                    <a:pt x="86" y="423"/>
                  </a:lnTo>
                  <a:lnTo>
                    <a:pt x="100" y="369"/>
                  </a:lnTo>
                  <a:lnTo>
                    <a:pt x="115" y="319"/>
                  </a:lnTo>
                  <a:lnTo>
                    <a:pt x="134" y="275"/>
                  </a:lnTo>
                  <a:lnTo>
                    <a:pt x="155" y="231"/>
                  </a:lnTo>
                  <a:lnTo>
                    <a:pt x="179" y="192"/>
                  </a:lnTo>
                  <a:lnTo>
                    <a:pt x="205" y="156"/>
                  </a:lnTo>
                  <a:lnTo>
                    <a:pt x="235" y="125"/>
                  </a:lnTo>
                  <a:lnTo>
                    <a:pt x="266" y="96"/>
                  </a:lnTo>
                  <a:lnTo>
                    <a:pt x="301" y="71"/>
                  </a:lnTo>
                  <a:lnTo>
                    <a:pt x="337" y="50"/>
                  </a:lnTo>
                  <a:lnTo>
                    <a:pt x="377" y="33"/>
                  </a:lnTo>
                  <a:lnTo>
                    <a:pt x="418" y="18"/>
                  </a:lnTo>
                  <a:lnTo>
                    <a:pt x="464" y="9"/>
                  </a:lnTo>
                  <a:lnTo>
                    <a:pt x="512" y="3"/>
                  </a:lnTo>
                  <a:lnTo>
                    <a:pt x="559" y="0"/>
                  </a:lnTo>
                </a:path>
              </a:pathLst>
            </a:cu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  <p:sp>
          <p:nvSpPr>
            <p:cNvPr id="520204" name="Freeform 7"/>
            <p:cNvSpPr>
              <a:spLocks/>
            </p:cNvSpPr>
            <p:nvPr/>
          </p:nvSpPr>
          <p:spPr bwMode="auto">
            <a:xfrm>
              <a:off x="2537" y="2113"/>
              <a:ext cx="589" cy="709"/>
            </a:xfrm>
            <a:custGeom>
              <a:avLst/>
              <a:gdLst>
                <a:gd name="T0" fmla="*/ 588 w 589"/>
                <a:gd name="T1" fmla="*/ 558 h 709"/>
                <a:gd name="T2" fmla="*/ 579 w 589"/>
                <a:gd name="T3" fmla="*/ 333 h 709"/>
                <a:gd name="T4" fmla="*/ 553 w 589"/>
                <a:gd name="T5" fmla="*/ 225 h 709"/>
                <a:gd name="T6" fmla="*/ 519 w 589"/>
                <a:gd name="T7" fmla="*/ 144 h 709"/>
                <a:gd name="T8" fmla="*/ 478 w 589"/>
                <a:gd name="T9" fmla="*/ 85 h 709"/>
                <a:gd name="T10" fmla="*/ 430 w 589"/>
                <a:gd name="T11" fmla="*/ 43 h 709"/>
                <a:gd name="T12" fmla="*/ 380 w 589"/>
                <a:gd name="T13" fmla="*/ 18 h 709"/>
                <a:gd name="T14" fmla="*/ 302 w 589"/>
                <a:gd name="T15" fmla="*/ 1 h 709"/>
                <a:gd name="T16" fmla="*/ 216 w 589"/>
                <a:gd name="T17" fmla="*/ 1 h 709"/>
                <a:gd name="T18" fmla="*/ 153 w 589"/>
                <a:gd name="T19" fmla="*/ 16 h 709"/>
                <a:gd name="T20" fmla="*/ 104 w 589"/>
                <a:gd name="T21" fmla="*/ 43 h 709"/>
                <a:gd name="T22" fmla="*/ 49 w 589"/>
                <a:gd name="T23" fmla="*/ 95 h 709"/>
                <a:gd name="T24" fmla="*/ 11 w 589"/>
                <a:gd name="T25" fmla="*/ 169 h 709"/>
                <a:gd name="T26" fmla="*/ 4 w 589"/>
                <a:gd name="T27" fmla="*/ 213 h 709"/>
                <a:gd name="T28" fmla="*/ 18 w 589"/>
                <a:gd name="T29" fmla="*/ 216 h 709"/>
                <a:gd name="T30" fmla="*/ 100 w 589"/>
                <a:gd name="T31" fmla="*/ 200 h 709"/>
                <a:gd name="T32" fmla="*/ 241 w 589"/>
                <a:gd name="T33" fmla="*/ 200 h 709"/>
                <a:gd name="T34" fmla="*/ 368 w 589"/>
                <a:gd name="T35" fmla="*/ 235 h 709"/>
                <a:gd name="T36" fmla="*/ 454 w 589"/>
                <a:gd name="T37" fmla="*/ 285 h 709"/>
                <a:gd name="T38" fmla="*/ 497 w 589"/>
                <a:gd name="T39" fmla="*/ 330 h 709"/>
                <a:gd name="T40" fmla="*/ 495 w 589"/>
                <a:gd name="T41" fmla="*/ 349 h 709"/>
                <a:gd name="T42" fmla="*/ 464 w 589"/>
                <a:gd name="T43" fmla="*/ 344 h 709"/>
                <a:gd name="T44" fmla="*/ 341 w 589"/>
                <a:gd name="T45" fmla="*/ 286 h 709"/>
                <a:gd name="T46" fmla="*/ 220 w 589"/>
                <a:gd name="T47" fmla="*/ 251 h 709"/>
                <a:gd name="T48" fmla="*/ 92 w 589"/>
                <a:gd name="T49" fmla="*/ 249 h 709"/>
                <a:gd name="T50" fmla="*/ 14 w 589"/>
                <a:gd name="T51" fmla="*/ 272 h 709"/>
                <a:gd name="T52" fmla="*/ 0 w 589"/>
                <a:gd name="T53" fmla="*/ 286 h 709"/>
                <a:gd name="T54" fmla="*/ 7 w 589"/>
                <a:gd name="T55" fmla="*/ 298 h 709"/>
                <a:gd name="T56" fmla="*/ 32 w 589"/>
                <a:gd name="T57" fmla="*/ 320 h 709"/>
                <a:gd name="T58" fmla="*/ 35 w 589"/>
                <a:gd name="T59" fmla="*/ 341 h 709"/>
                <a:gd name="T60" fmla="*/ 18 w 589"/>
                <a:gd name="T61" fmla="*/ 349 h 709"/>
                <a:gd name="T62" fmla="*/ 18 w 589"/>
                <a:gd name="T63" fmla="*/ 388 h 709"/>
                <a:gd name="T64" fmla="*/ 30 w 589"/>
                <a:gd name="T65" fmla="*/ 408 h 709"/>
                <a:gd name="T66" fmla="*/ 146 w 589"/>
                <a:gd name="T67" fmla="*/ 337 h 709"/>
                <a:gd name="T68" fmla="*/ 241 w 589"/>
                <a:gd name="T69" fmla="*/ 320 h 709"/>
                <a:gd name="T70" fmla="*/ 314 w 589"/>
                <a:gd name="T71" fmla="*/ 333 h 709"/>
                <a:gd name="T72" fmla="*/ 435 w 589"/>
                <a:gd name="T73" fmla="*/ 388 h 709"/>
                <a:gd name="T74" fmla="*/ 458 w 589"/>
                <a:gd name="T75" fmla="*/ 413 h 709"/>
                <a:gd name="T76" fmla="*/ 453 w 589"/>
                <a:gd name="T77" fmla="*/ 438 h 709"/>
                <a:gd name="T78" fmla="*/ 415 w 589"/>
                <a:gd name="T79" fmla="*/ 492 h 709"/>
                <a:gd name="T80" fmla="*/ 405 w 589"/>
                <a:gd name="T81" fmla="*/ 528 h 709"/>
                <a:gd name="T82" fmla="*/ 485 w 589"/>
                <a:gd name="T83" fmla="*/ 708 h 709"/>
                <a:gd name="T84" fmla="*/ 527 w 589"/>
                <a:gd name="T85" fmla="*/ 470 h 709"/>
                <a:gd name="T86" fmla="*/ 585 w 589"/>
                <a:gd name="T87" fmla="*/ 708 h 70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89"/>
                <a:gd name="T133" fmla="*/ 0 h 709"/>
                <a:gd name="T134" fmla="*/ 589 w 589"/>
                <a:gd name="T135" fmla="*/ 709 h 70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89" h="709">
                  <a:moveTo>
                    <a:pt x="585" y="708"/>
                  </a:moveTo>
                  <a:lnTo>
                    <a:pt x="588" y="558"/>
                  </a:lnTo>
                  <a:lnTo>
                    <a:pt x="585" y="397"/>
                  </a:lnTo>
                  <a:lnTo>
                    <a:pt x="579" y="333"/>
                  </a:lnTo>
                  <a:lnTo>
                    <a:pt x="568" y="276"/>
                  </a:lnTo>
                  <a:lnTo>
                    <a:pt x="553" y="225"/>
                  </a:lnTo>
                  <a:lnTo>
                    <a:pt x="538" y="183"/>
                  </a:lnTo>
                  <a:lnTo>
                    <a:pt x="519" y="144"/>
                  </a:lnTo>
                  <a:lnTo>
                    <a:pt x="499" y="112"/>
                  </a:lnTo>
                  <a:lnTo>
                    <a:pt x="478" y="85"/>
                  </a:lnTo>
                  <a:lnTo>
                    <a:pt x="454" y="63"/>
                  </a:lnTo>
                  <a:lnTo>
                    <a:pt x="430" y="43"/>
                  </a:lnTo>
                  <a:lnTo>
                    <a:pt x="405" y="29"/>
                  </a:lnTo>
                  <a:lnTo>
                    <a:pt x="380" y="18"/>
                  </a:lnTo>
                  <a:lnTo>
                    <a:pt x="353" y="10"/>
                  </a:lnTo>
                  <a:lnTo>
                    <a:pt x="302" y="1"/>
                  </a:lnTo>
                  <a:lnTo>
                    <a:pt x="252" y="0"/>
                  </a:lnTo>
                  <a:lnTo>
                    <a:pt x="216" y="1"/>
                  </a:lnTo>
                  <a:lnTo>
                    <a:pt x="183" y="7"/>
                  </a:lnTo>
                  <a:lnTo>
                    <a:pt x="153" y="16"/>
                  </a:lnTo>
                  <a:lnTo>
                    <a:pt x="127" y="29"/>
                  </a:lnTo>
                  <a:lnTo>
                    <a:pt x="104" y="43"/>
                  </a:lnTo>
                  <a:lnTo>
                    <a:pt x="82" y="60"/>
                  </a:lnTo>
                  <a:lnTo>
                    <a:pt x="49" y="95"/>
                  </a:lnTo>
                  <a:lnTo>
                    <a:pt x="26" y="133"/>
                  </a:lnTo>
                  <a:lnTo>
                    <a:pt x="11" y="169"/>
                  </a:lnTo>
                  <a:lnTo>
                    <a:pt x="5" y="196"/>
                  </a:lnTo>
                  <a:lnTo>
                    <a:pt x="4" y="213"/>
                  </a:lnTo>
                  <a:lnTo>
                    <a:pt x="9" y="216"/>
                  </a:lnTo>
                  <a:lnTo>
                    <a:pt x="18" y="216"/>
                  </a:lnTo>
                  <a:lnTo>
                    <a:pt x="51" y="209"/>
                  </a:lnTo>
                  <a:lnTo>
                    <a:pt x="100" y="200"/>
                  </a:lnTo>
                  <a:lnTo>
                    <a:pt x="162" y="196"/>
                  </a:lnTo>
                  <a:lnTo>
                    <a:pt x="241" y="200"/>
                  </a:lnTo>
                  <a:lnTo>
                    <a:pt x="309" y="214"/>
                  </a:lnTo>
                  <a:lnTo>
                    <a:pt x="368" y="235"/>
                  </a:lnTo>
                  <a:lnTo>
                    <a:pt x="415" y="260"/>
                  </a:lnTo>
                  <a:lnTo>
                    <a:pt x="454" y="285"/>
                  </a:lnTo>
                  <a:lnTo>
                    <a:pt x="481" y="311"/>
                  </a:lnTo>
                  <a:lnTo>
                    <a:pt x="497" y="330"/>
                  </a:lnTo>
                  <a:lnTo>
                    <a:pt x="500" y="345"/>
                  </a:lnTo>
                  <a:lnTo>
                    <a:pt x="495" y="349"/>
                  </a:lnTo>
                  <a:lnTo>
                    <a:pt x="488" y="350"/>
                  </a:lnTo>
                  <a:lnTo>
                    <a:pt x="464" y="344"/>
                  </a:lnTo>
                  <a:lnTo>
                    <a:pt x="389" y="308"/>
                  </a:lnTo>
                  <a:lnTo>
                    <a:pt x="341" y="286"/>
                  </a:lnTo>
                  <a:lnTo>
                    <a:pt x="282" y="266"/>
                  </a:lnTo>
                  <a:lnTo>
                    <a:pt x="220" y="251"/>
                  </a:lnTo>
                  <a:lnTo>
                    <a:pt x="151" y="244"/>
                  </a:lnTo>
                  <a:lnTo>
                    <a:pt x="92" y="249"/>
                  </a:lnTo>
                  <a:lnTo>
                    <a:pt x="45" y="259"/>
                  </a:lnTo>
                  <a:lnTo>
                    <a:pt x="14" y="272"/>
                  </a:lnTo>
                  <a:lnTo>
                    <a:pt x="5" y="278"/>
                  </a:lnTo>
                  <a:lnTo>
                    <a:pt x="0" y="286"/>
                  </a:lnTo>
                  <a:lnTo>
                    <a:pt x="3" y="291"/>
                  </a:lnTo>
                  <a:lnTo>
                    <a:pt x="7" y="298"/>
                  </a:lnTo>
                  <a:lnTo>
                    <a:pt x="19" y="308"/>
                  </a:lnTo>
                  <a:lnTo>
                    <a:pt x="32" y="320"/>
                  </a:lnTo>
                  <a:lnTo>
                    <a:pt x="39" y="333"/>
                  </a:lnTo>
                  <a:lnTo>
                    <a:pt x="35" y="341"/>
                  </a:lnTo>
                  <a:lnTo>
                    <a:pt x="27" y="345"/>
                  </a:lnTo>
                  <a:lnTo>
                    <a:pt x="18" y="349"/>
                  </a:lnTo>
                  <a:lnTo>
                    <a:pt x="14" y="358"/>
                  </a:lnTo>
                  <a:lnTo>
                    <a:pt x="18" y="388"/>
                  </a:lnTo>
                  <a:lnTo>
                    <a:pt x="23" y="400"/>
                  </a:lnTo>
                  <a:lnTo>
                    <a:pt x="30" y="408"/>
                  </a:lnTo>
                  <a:lnTo>
                    <a:pt x="90" y="363"/>
                  </a:lnTo>
                  <a:lnTo>
                    <a:pt x="146" y="337"/>
                  </a:lnTo>
                  <a:lnTo>
                    <a:pt x="196" y="324"/>
                  </a:lnTo>
                  <a:lnTo>
                    <a:pt x="241" y="320"/>
                  </a:lnTo>
                  <a:lnTo>
                    <a:pt x="277" y="324"/>
                  </a:lnTo>
                  <a:lnTo>
                    <a:pt x="314" y="333"/>
                  </a:lnTo>
                  <a:lnTo>
                    <a:pt x="382" y="359"/>
                  </a:lnTo>
                  <a:lnTo>
                    <a:pt x="435" y="388"/>
                  </a:lnTo>
                  <a:lnTo>
                    <a:pt x="450" y="401"/>
                  </a:lnTo>
                  <a:lnTo>
                    <a:pt x="458" y="413"/>
                  </a:lnTo>
                  <a:lnTo>
                    <a:pt x="458" y="425"/>
                  </a:lnTo>
                  <a:lnTo>
                    <a:pt x="453" y="438"/>
                  </a:lnTo>
                  <a:lnTo>
                    <a:pt x="436" y="464"/>
                  </a:lnTo>
                  <a:lnTo>
                    <a:pt x="415" y="492"/>
                  </a:lnTo>
                  <a:lnTo>
                    <a:pt x="409" y="509"/>
                  </a:lnTo>
                  <a:lnTo>
                    <a:pt x="405" y="528"/>
                  </a:lnTo>
                  <a:lnTo>
                    <a:pt x="405" y="705"/>
                  </a:lnTo>
                  <a:lnTo>
                    <a:pt x="485" y="708"/>
                  </a:lnTo>
                  <a:lnTo>
                    <a:pt x="488" y="470"/>
                  </a:lnTo>
                  <a:lnTo>
                    <a:pt x="527" y="470"/>
                  </a:lnTo>
                  <a:lnTo>
                    <a:pt x="527" y="708"/>
                  </a:lnTo>
                  <a:lnTo>
                    <a:pt x="585" y="708"/>
                  </a:lnTo>
                </a:path>
              </a:pathLst>
            </a:custGeom>
            <a:solidFill>
              <a:srgbClr val="FFF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  <p:sp>
          <p:nvSpPr>
            <p:cNvPr id="520205" name="Freeform 8"/>
            <p:cNvSpPr>
              <a:spLocks/>
            </p:cNvSpPr>
            <p:nvPr/>
          </p:nvSpPr>
          <p:spPr bwMode="auto">
            <a:xfrm>
              <a:off x="3030" y="2588"/>
              <a:ext cx="40" cy="241"/>
            </a:xfrm>
            <a:custGeom>
              <a:avLst/>
              <a:gdLst>
                <a:gd name="T0" fmla="*/ 0 w 40"/>
                <a:gd name="T1" fmla="*/ 240 h 241"/>
                <a:gd name="T2" fmla="*/ 3 w 40"/>
                <a:gd name="T3" fmla="*/ 0 h 241"/>
                <a:gd name="T4" fmla="*/ 39 w 40"/>
                <a:gd name="T5" fmla="*/ 0 h 241"/>
                <a:gd name="T6" fmla="*/ 39 w 40"/>
                <a:gd name="T7" fmla="*/ 240 h 24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241"/>
                <a:gd name="T14" fmla="*/ 40 w 40"/>
                <a:gd name="T15" fmla="*/ 241 h 24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241">
                  <a:moveTo>
                    <a:pt x="0" y="240"/>
                  </a:moveTo>
                  <a:lnTo>
                    <a:pt x="3" y="0"/>
                  </a:lnTo>
                  <a:lnTo>
                    <a:pt x="39" y="0"/>
                  </a:lnTo>
                  <a:lnTo>
                    <a:pt x="39" y="240"/>
                  </a:lnTo>
                </a:path>
              </a:pathLst>
            </a:custGeom>
            <a:noFill/>
            <a:ln w="12700" cap="rnd">
              <a:solidFill>
                <a:srgbClr val="FF603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  <p:sp>
          <p:nvSpPr>
            <p:cNvPr id="520206" name="Freeform 9"/>
            <p:cNvSpPr>
              <a:spLocks/>
            </p:cNvSpPr>
            <p:nvPr/>
          </p:nvSpPr>
          <p:spPr bwMode="auto">
            <a:xfrm>
              <a:off x="2537" y="2113"/>
              <a:ext cx="595" cy="716"/>
            </a:xfrm>
            <a:custGeom>
              <a:avLst/>
              <a:gdLst>
                <a:gd name="T0" fmla="*/ 594 w 595"/>
                <a:gd name="T1" fmla="*/ 563 h 716"/>
                <a:gd name="T2" fmla="*/ 584 w 595"/>
                <a:gd name="T3" fmla="*/ 336 h 716"/>
                <a:gd name="T4" fmla="*/ 559 w 595"/>
                <a:gd name="T5" fmla="*/ 227 h 716"/>
                <a:gd name="T6" fmla="*/ 524 w 595"/>
                <a:gd name="T7" fmla="*/ 145 h 716"/>
                <a:gd name="T8" fmla="*/ 483 w 595"/>
                <a:gd name="T9" fmla="*/ 86 h 716"/>
                <a:gd name="T10" fmla="*/ 434 w 595"/>
                <a:gd name="T11" fmla="*/ 44 h 716"/>
                <a:gd name="T12" fmla="*/ 383 w 595"/>
                <a:gd name="T13" fmla="*/ 18 h 716"/>
                <a:gd name="T14" fmla="*/ 305 w 595"/>
                <a:gd name="T15" fmla="*/ 1 h 716"/>
                <a:gd name="T16" fmla="*/ 219 w 595"/>
                <a:gd name="T17" fmla="*/ 1 h 716"/>
                <a:gd name="T18" fmla="*/ 154 w 595"/>
                <a:gd name="T19" fmla="*/ 16 h 716"/>
                <a:gd name="T20" fmla="*/ 104 w 595"/>
                <a:gd name="T21" fmla="*/ 44 h 716"/>
                <a:gd name="T22" fmla="*/ 49 w 595"/>
                <a:gd name="T23" fmla="*/ 96 h 716"/>
                <a:gd name="T24" fmla="*/ 11 w 595"/>
                <a:gd name="T25" fmla="*/ 170 h 716"/>
                <a:gd name="T26" fmla="*/ 4 w 595"/>
                <a:gd name="T27" fmla="*/ 215 h 716"/>
                <a:gd name="T28" fmla="*/ 18 w 595"/>
                <a:gd name="T29" fmla="*/ 218 h 716"/>
                <a:gd name="T30" fmla="*/ 101 w 595"/>
                <a:gd name="T31" fmla="*/ 202 h 716"/>
                <a:gd name="T32" fmla="*/ 244 w 595"/>
                <a:gd name="T33" fmla="*/ 202 h 716"/>
                <a:gd name="T34" fmla="*/ 371 w 595"/>
                <a:gd name="T35" fmla="*/ 237 h 716"/>
                <a:gd name="T36" fmla="*/ 458 w 595"/>
                <a:gd name="T37" fmla="*/ 288 h 716"/>
                <a:gd name="T38" fmla="*/ 502 w 595"/>
                <a:gd name="T39" fmla="*/ 334 h 716"/>
                <a:gd name="T40" fmla="*/ 499 w 595"/>
                <a:gd name="T41" fmla="*/ 352 h 716"/>
                <a:gd name="T42" fmla="*/ 468 w 595"/>
                <a:gd name="T43" fmla="*/ 347 h 716"/>
                <a:gd name="T44" fmla="*/ 345 w 595"/>
                <a:gd name="T45" fmla="*/ 289 h 716"/>
                <a:gd name="T46" fmla="*/ 223 w 595"/>
                <a:gd name="T47" fmla="*/ 253 h 716"/>
                <a:gd name="T48" fmla="*/ 92 w 595"/>
                <a:gd name="T49" fmla="*/ 252 h 716"/>
                <a:gd name="T50" fmla="*/ 14 w 595"/>
                <a:gd name="T51" fmla="*/ 274 h 716"/>
                <a:gd name="T52" fmla="*/ 0 w 595"/>
                <a:gd name="T53" fmla="*/ 289 h 716"/>
                <a:gd name="T54" fmla="*/ 7 w 595"/>
                <a:gd name="T55" fmla="*/ 301 h 716"/>
                <a:gd name="T56" fmla="*/ 33 w 595"/>
                <a:gd name="T57" fmla="*/ 323 h 716"/>
                <a:gd name="T58" fmla="*/ 35 w 595"/>
                <a:gd name="T59" fmla="*/ 344 h 716"/>
                <a:gd name="T60" fmla="*/ 18 w 595"/>
                <a:gd name="T61" fmla="*/ 352 h 716"/>
                <a:gd name="T62" fmla="*/ 18 w 595"/>
                <a:gd name="T63" fmla="*/ 392 h 716"/>
                <a:gd name="T64" fmla="*/ 30 w 595"/>
                <a:gd name="T65" fmla="*/ 412 h 716"/>
                <a:gd name="T66" fmla="*/ 148 w 595"/>
                <a:gd name="T67" fmla="*/ 340 h 716"/>
                <a:gd name="T68" fmla="*/ 244 w 595"/>
                <a:gd name="T69" fmla="*/ 323 h 716"/>
                <a:gd name="T70" fmla="*/ 387 w 595"/>
                <a:gd name="T71" fmla="*/ 364 h 716"/>
                <a:gd name="T72" fmla="*/ 455 w 595"/>
                <a:gd name="T73" fmla="*/ 405 h 716"/>
                <a:gd name="T74" fmla="*/ 462 w 595"/>
                <a:gd name="T75" fmla="*/ 429 h 716"/>
                <a:gd name="T76" fmla="*/ 440 w 595"/>
                <a:gd name="T77" fmla="*/ 468 h 716"/>
                <a:gd name="T78" fmla="*/ 413 w 595"/>
                <a:gd name="T79" fmla="*/ 514 h 716"/>
                <a:gd name="T80" fmla="*/ 409 w 595"/>
                <a:gd name="T81" fmla="*/ 712 h 71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95"/>
                <a:gd name="T124" fmla="*/ 0 h 716"/>
                <a:gd name="T125" fmla="*/ 595 w 595"/>
                <a:gd name="T126" fmla="*/ 716 h 71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95" h="716">
                  <a:moveTo>
                    <a:pt x="591" y="715"/>
                  </a:moveTo>
                  <a:lnTo>
                    <a:pt x="594" y="563"/>
                  </a:lnTo>
                  <a:lnTo>
                    <a:pt x="591" y="401"/>
                  </a:lnTo>
                  <a:lnTo>
                    <a:pt x="584" y="336"/>
                  </a:lnTo>
                  <a:lnTo>
                    <a:pt x="573" y="278"/>
                  </a:lnTo>
                  <a:lnTo>
                    <a:pt x="559" y="227"/>
                  </a:lnTo>
                  <a:lnTo>
                    <a:pt x="543" y="185"/>
                  </a:lnTo>
                  <a:lnTo>
                    <a:pt x="524" y="145"/>
                  </a:lnTo>
                  <a:lnTo>
                    <a:pt x="504" y="113"/>
                  </a:lnTo>
                  <a:lnTo>
                    <a:pt x="483" y="86"/>
                  </a:lnTo>
                  <a:lnTo>
                    <a:pt x="458" y="63"/>
                  </a:lnTo>
                  <a:lnTo>
                    <a:pt x="434" y="44"/>
                  </a:lnTo>
                  <a:lnTo>
                    <a:pt x="409" y="29"/>
                  </a:lnTo>
                  <a:lnTo>
                    <a:pt x="383" y="18"/>
                  </a:lnTo>
                  <a:lnTo>
                    <a:pt x="357" y="11"/>
                  </a:lnTo>
                  <a:lnTo>
                    <a:pt x="305" y="1"/>
                  </a:lnTo>
                  <a:lnTo>
                    <a:pt x="255" y="0"/>
                  </a:lnTo>
                  <a:lnTo>
                    <a:pt x="219" y="1"/>
                  </a:lnTo>
                  <a:lnTo>
                    <a:pt x="185" y="7"/>
                  </a:lnTo>
                  <a:lnTo>
                    <a:pt x="154" y="16"/>
                  </a:lnTo>
                  <a:lnTo>
                    <a:pt x="127" y="29"/>
                  </a:lnTo>
                  <a:lnTo>
                    <a:pt x="104" y="44"/>
                  </a:lnTo>
                  <a:lnTo>
                    <a:pt x="83" y="61"/>
                  </a:lnTo>
                  <a:lnTo>
                    <a:pt x="49" y="96"/>
                  </a:lnTo>
                  <a:lnTo>
                    <a:pt x="26" y="135"/>
                  </a:lnTo>
                  <a:lnTo>
                    <a:pt x="11" y="170"/>
                  </a:lnTo>
                  <a:lnTo>
                    <a:pt x="5" y="198"/>
                  </a:lnTo>
                  <a:lnTo>
                    <a:pt x="4" y="215"/>
                  </a:lnTo>
                  <a:lnTo>
                    <a:pt x="10" y="218"/>
                  </a:lnTo>
                  <a:lnTo>
                    <a:pt x="18" y="218"/>
                  </a:lnTo>
                  <a:lnTo>
                    <a:pt x="52" y="211"/>
                  </a:lnTo>
                  <a:lnTo>
                    <a:pt x="101" y="202"/>
                  </a:lnTo>
                  <a:lnTo>
                    <a:pt x="164" y="198"/>
                  </a:lnTo>
                  <a:lnTo>
                    <a:pt x="244" y="202"/>
                  </a:lnTo>
                  <a:lnTo>
                    <a:pt x="312" y="216"/>
                  </a:lnTo>
                  <a:lnTo>
                    <a:pt x="371" y="237"/>
                  </a:lnTo>
                  <a:lnTo>
                    <a:pt x="419" y="263"/>
                  </a:lnTo>
                  <a:lnTo>
                    <a:pt x="458" y="288"/>
                  </a:lnTo>
                  <a:lnTo>
                    <a:pt x="486" y="314"/>
                  </a:lnTo>
                  <a:lnTo>
                    <a:pt x="502" y="334"/>
                  </a:lnTo>
                  <a:lnTo>
                    <a:pt x="505" y="348"/>
                  </a:lnTo>
                  <a:lnTo>
                    <a:pt x="499" y="352"/>
                  </a:lnTo>
                  <a:lnTo>
                    <a:pt x="493" y="354"/>
                  </a:lnTo>
                  <a:lnTo>
                    <a:pt x="468" y="347"/>
                  </a:lnTo>
                  <a:lnTo>
                    <a:pt x="394" y="311"/>
                  </a:lnTo>
                  <a:lnTo>
                    <a:pt x="345" y="289"/>
                  </a:lnTo>
                  <a:lnTo>
                    <a:pt x="285" y="269"/>
                  </a:lnTo>
                  <a:lnTo>
                    <a:pt x="223" y="253"/>
                  </a:lnTo>
                  <a:lnTo>
                    <a:pt x="152" y="247"/>
                  </a:lnTo>
                  <a:lnTo>
                    <a:pt x="92" y="252"/>
                  </a:lnTo>
                  <a:lnTo>
                    <a:pt x="45" y="261"/>
                  </a:lnTo>
                  <a:lnTo>
                    <a:pt x="14" y="274"/>
                  </a:lnTo>
                  <a:lnTo>
                    <a:pt x="5" y="281"/>
                  </a:lnTo>
                  <a:lnTo>
                    <a:pt x="0" y="289"/>
                  </a:lnTo>
                  <a:lnTo>
                    <a:pt x="3" y="294"/>
                  </a:lnTo>
                  <a:lnTo>
                    <a:pt x="7" y="301"/>
                  </a:lnTo>
                  <a:lnTo>
                    <a:pt x="19" y="311"/>
                  </a:lnTo>
                  <a:lnTo>
                    <a:pt x="33" y="323"/>
                  </a:lnTo>
                  <a:lnTo>
                    <a:pt x="40" y="336"/>
                  </a:lnTo>
                  <a:lnTo>
                    <a:pt x="35" y="344"/>
                  </a:lnTo>
                  <a:lnTo>
                    <a:pt x="27" y="348"/>
                  </a:lnTo>
                  <a:lnTo>
                    <a:pt x="18" y="352"/>
                  </a:lnTo>
                  <a:lnTo>
                    <a:pt x="14" y="361"/>
                  </a:lnTo>
                  <a:lnTo>
                    <a:pt x="18" y="392"/>
                  </a:lnTo>
                  <a:lnTo>
                    <a:pt x="23" y="404"/>
                  </a:lnTo>
                  <a:lnTo>
                    <a:pt x="30" y="412"/>
                  </a:lnTo>
                  <a:lnTo>
                    <a:pt x="91" y="367"/>
                  </a:lnTo>
                  <a:lnTo>
                    <a:pt x="148" y="340"/>
                  </a:lnTo>
                  <a:lnTo>
                    <a:pt x="198" y="327"/>
                  </a:lnTo>
                  <a:lnTo>
                    <a:pt x="244" y="323"/>
                  </a:lnTo>
                  <a:lnTo>
                    <a:pt x="319" y="338"/>
                  </a:lnTo>
                  <a:lnTo>
                    <a:pt x="387" y="364"/>
                  </a:lnTo>
                  <a:lnTo>
                    <a:pt x="440" y="393"/>
                  </a:lnTo>
                  <a:lnTo>
                    <a:pt x="455" y="405"/>
                  </a:lnTo>
                  <a:lnTo>
                    <a:pt x="462" y="417"/>
                  </a:lnTo>
                  <a:lnTo>
                    <a:pt x="462" y="429"/>
                  </a:lnTo>
                  <a:lnTo>
                    <a:pt x="457" y="442"/>
                  </a:lnTo>
                  <a:lnTo>
                    <a:pt x="440" y="468"/>
                  </a:lnTo>
                  <a:lnTo>
                    <a:pt x="419" y="497"/>
                  </a:lnTo>
                  <a:lnTo>
                    <a:pt x="413" y="514"/>
                  </a:lnTo>
                  <a:lnTo>
                    <a:pt x="409" y="533"/>
                  </a:lnTo>
                  <a:lnTo>
                    <a:pt x="409" y="712"/>
                  </a:lnTo>
                </a:path>
              </a:pathLst>
            </a:custGeom>
            <a:noFill/>
            <a:ln w="12700" cap="rnd">
              <a:solidFill>
                <a:srgbClr val="FF603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  <p:sp>
          <p:nvSpPr>
            <p:cNvPr id="520207" name="Freeform 10"/>
            <p:cNvSpPr>
              <a:spLocks/>
            </p:cNvSpPr>
            <p:nvPr/>
          </p:nvSpPr>
          <p:spPr bwMode="auto">
            <a:xfrm>
              <a:off x="2410" y="2027"/>
              <a:ext cx="793" cy="886"/>
            </a:xfrm>
            <a:custGeom>
              <a:avLst/>
              <a:gdLst>
                <a:gd name="T0" fmla="*/ 0 w 793"/>
                <a:gd name="T1" fmla="*/ 0 h 886"/>
                <a:gd name="T2" fmla="*/ 792 w 793"/>
                <a:gd name="T3" fmla="*/ 0 h 886"/>
                <a:gd name="T4" fmla="*/ 792 w 793"/>
                <a:gd name="T5" fmla="*/ 885 h 886"/>
                <a:gd name="T6" fmla="*/ 0 w 793"/>
                <a:gd name="T7" fmla="*/ 885 h 886"/>
                <a:gd name="T8" fmla="*/ 0 w 793"/>
                <a:gd name="T9" fmla="*/ 0 h 8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93"/>
                <a:gd name="T16" fmla="*/ 0 h 886"/>
                <a:gd name="T17" fmla="*/ 793 w 793"/>
                <a:gd name="T18" fmla="*/ 886 h 8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93" h="886">
                  <a:moveTo>
                    <a:pt x="0" y="0"/>
                  </a:moveTo>
                  <a:lnTo>
                    <a:pt x="792" y="0"/>
                  </a:lnTo>
                  <a:lnTo>
                    <a:pt x="792" y="885"/>
                  </a:lnTo>
                  <a:lnTo>
                    <a:pt x="0" y="885"/>
                  </a:lnTo>
                  <a:lnTo>
                    <a:pt x="0" y="0"/>
                  </a:lnTo>
                </a:path>
              </a:pathLst>
            </a:custGeom>
            <a:noFill/>
            <a:ln w="25400" cap="rnd">
              <a:solidFill>
                <a:srgbClr val="FF2020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  <p:sp>
          <p:nvSpPr>
            <p:cNvPr id="520208" name="Freeform 11"/>
            <p:cNvSpPr>
              <a:spLocks/>
            </p:cNvSpPr>
            <p:nvPr/>
          </p:nvSpPr>
          <p:spPr bwMode="auto">
            <a:xfrm>
              <a:off x="2255" y="2052"/>
              <a:ext cx="307" cy="166"/>
            </a:xfrm>
            <a:custGeom>
              <a:avLst/>
              <a:gdLst>
                <a:gd name="T0" fmla="*/ 306 w 307"/>
                <a:gd name="T1" fmla="*/ 144 h 166"/>
                <a:gd name="T2" fmla="*/ 28 w 307"/>
                <a:gd name="T3" fmla="*/ 0 h 166"/>
                <a:gd name="T4" fmla="*/ 82 w 307"/>
                <a:gd name="T5" fmla="*/ 96 h 166"/>
                <a:gd name="T6" fmla="*/ 0 w 307"/>
                <a:gd name="T7" fmla="*/ 165 h 166"/>
                <a:gd name="T8" fmla="*/ 306 w 307"/>
                <a:gd name="T9" fmla="*/ 144 h 16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7"/>
                <a:gd name="T16" fmla="*/ 0 h 166"/>
                <a:gd name="T17" fmla="*/ 307 w 307"/>
                <a:gd name="T18" fmla="*/ 166 h 16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7" h="166">
                  <a:moveTo>
                    <a:pt x="306" y="144"/>
                  </a:moveTo>
                  <a:lnTo>
                    <a:pt x="28" y="0"/>
                  </a:lnTo>
                  <a:lnTo>
                    <a:pt x="82" y="96"/>
                  </a:lnTo>
                  <a:lnTo>
                    <a:pt x="0" y="165"/>
                  </a:lnTo>
                  <a:lnTo>
                    <a:pt x="306" y="144"/>
                  </a:lnTo>
                </a:path>
              </a:pathLst>
            </a:custGeom>
            <a:solidFill>
              <a:srgbClr val="00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  <p:sp>
          <p:nvSpPr>
            <p:cNvPr id="520209" name="Freeform 12"/>
            <p:cNvSpPr>
              <a:spLocks/>
            </p:cNvSpPr>
            <p:nvPr/>
          </p:nvSpPr>
          <p:spPr bwMode="auto">
            <a:xfrm>
              <a:off x="3112" y="2047"/>
              <a:ext cx="309" cy="163"/>
            </a:xfrm>
            <a:custGeom>
              <a:avLst/>
              <a:gdLst>
                <a:gd name="T0" fmla="*/ 0 w 309"/>
                <a:gd name="T1" fmla="*/ 162 h 163"/>
                <a:gd name="T2" fmla="*/ 308 w 309"/>
                <a:gd name="T3" fmla="*/ 162 h 163"/>
                <a:gd name="T4" fmla="*/ 221 w 309"/>
                <a:gd name="T5" fmla="*/ 100 h 163"/>
                <a:gd name="T6" fmla="*/ 270 w 309"/>
                <a:gd name="T7" fmla="*/ 0 h 163"/>
                <a:gd name="T8" fmla="*/ 0 w 309"/>
                <a:gd name="T9" fmla="*/ 162 h 16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9"/>
                <a:gd name="T16" fmla="*/ 0 h 163"/>
                <a:gd name="T17" fmla="*/ 309 w 309"/>
                <a:gd name="T18" fmla="*/ 163 h 16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9" h="163">
                  <a:moveTo>
                    <a:pt x="0" y="162"/>
                  </a:moveTo>
                  <a:lnTo>
                    <a:pt x="308" y="162"/>
                  </a:lnTo>
                  <a:lnTo>
                    <a:pt x="221" y="100"/>
                  </a:lnTo>
                  <a:lnTo>
                    <a:pt x="270" y="0"/>
                  </a:lnTo>
                  <a:lnTo>
                    <a:pt x="0" y="162"/>
                  </a:lnTo>
                </a:path>
              </a:pathLst>
            </a:custGeom>
            <a:solidFill>
              <a:srgbClr val="00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  <p:sp>
          <p:nvSpPr>
            <p:cNvPr id="520210" name="Freeform 13"/>
            <p:cNvSpPr>
              <a:spLocks/>
            </p:cNvSpPr>
            <p:nvPr/>
          </p:nvSpPr>
          <p:spPr bwMode="auto">
            <a:xfrm>
              <a:off x="3108" y="2670"/>
              <a:ext cx="298" cy="238"/>
            </a:xfrm>
            <a:custGeom>
              <a:avLst/>
              <a:gdLst>
                <a:gd name="T0" fmla="*/ 0 w 298"/>
                <a:gd name="T1" fmla="*/ 0 h 238"/>
                <a:gd name="T2" fmla="*/ 222 w 298"/>
                <a:gd name="T3" fmla="*/ 237 h 238"/>
                <a:gd name="T4" fmla="*/ 198 w 298"/>
                <a:gd name="T5" fmla="*/ 126 h 238"/>
                <a:gd name="T6" fmla="*/ 297 w 298"/>
                <a:gd name="T7" fmla="*/ 90 h 238"/>
                <a:gd name="T8" fmla="*/ 0 w 298"/>
                <a:gd name="T9" fmla="*/ 0 h 2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8"/>
                <a:gd name="T16" fmla="*/ 0 h 238"/>
                <a:gd name="T17" fmla="*/ 298 w 298"/>
                <a:gd name="T18" fmla="*/ 238 h 23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8" h="238">
                  <a:moveTo>
                    <a:pt x="0" y="0"/>
                  </a:moveTo>
                  <a:lnTo>
                    <a:pt x="222" y="237"/>
                  </a:lnTo>
                  <a:lnTo>
                    <a:pt x="198" y="126"/>
                  </a:lnTo>
                  <a:lnTo>
                    <a:pt x="297" y="90"/>
                  </a:lnTo>
                  <a:lnTo>
                    <a:pt x="0" y="0"/>
                  </a:lnTo>
                </a:path>
              </a:pathLst>
            </a:custGeom>
            <a:solidFill>
              <a:srgbClr val="00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  <p:sp>
          <p:nvSpPr>
            <p:cNvPr id="520211" name="Freeform 14"/>
            <p:cNvSpPr>
              <a:spLocks/>
            </p:cNvSpPr>
            <p:nvPr/>
          </p:nvSpPr>
          <p:spPr bwMode="auto">
            <a:xfrm>
              <a:off x="2713" y="2758"/>
              <a:ext cx="184" cy="342"/>
            </a:xfrm>
            <a:custGeom>
              <a:avLst/>
              <a:gdLst>
                <a:gd name="T0" fmla="*/ 183 w 184"/>
                <a:gd name="T1" fmla="*/ 0 h 342"/>
                <a:gd name="T2" fmla="*/ 0 w 184"/>
                <a:gd name="T3" fmla="*/ 278 h 342"/>
                <a:gd name="T4" fmla="*/ 95 w 184"/>
                <a:gd name="T5" fmla="*/ 238 h 342"/>
                <a:gd name="T6" fmla="*/ 139 w 184"/>
                <a:gd name="T7" fmla="*/ 341 h 342"/>
                <a:gd name="T8" fmla="*/ 183 w 184"/>
                <a:gd name="T9" fmla="*/ 0 h 34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4"/>
                <a:gd name="T16" fmla="*/ 0 h 342"/>
                <a:gd name="T17" fmla="*/ 184 w 184"/>
                <a:gd name="T18" fmla="*/ 342 h 34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4" h="342">
                  <a:moveTo>
                    <a:pt x="183" y="0"/>
                  </a:moveTo>
                  <a:lnTo>
                    <a:pt x="0" y="278"/>
                  </a:lnTo>
                  <a:lnTo>
                    <a:pt x="95" y="238"/>
                  </a:lnTo>
                  <a:lnTo>
                    <a:pt x="139" y="341"/>
                  </a:lnTo>
                  <a:lnTo>
                    <a:pt x="183" y="0"/>
                  </a:lnTo>
                </a:path>
              </a:pathLst>
            </a:custGeom>
            <a:solidFill>
              <a:srgbClr val="00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  <p:sp>
          <p:nvSpPr>
            <p:cNvPr id="520212" name="Freeform 15"/>
            <p:cNvSpPr>
              <a:spLocks/>
            </p:cNvSpPr>
            <p:nvPr/>
          </p:nvSpPr>
          <p:spPr bwMode="auto">
            <a:xfrm>
              <a:off x="2061" y="2767"/>
              <a:ext cx="311" cy="176"/>
            </a:xfrm>
            <a:custGeom>
              <a:avLst/>
              <a:gdLst>
                <a:gd name="T0" fmla="*/ 310 w 311"/>
                <a:gd name="T1" fmla="*/ 0 h 176"/>
                <a:gd name="T2" fmla="*/ 0 w 311"/>
                <a:gd name="T3" fmla="*/ 16 h 176"/>
                <a:gd name="T4" fmla="*/ 89 w 311"/>
                <a:gd name="T5" fmla="*/ 73 h 176"/>
                <a:gd name="T6" fmla="*/ 43 w 311"/>
                <a:gd name="T7" fmla="*/ 175 h 176"/>
                <a:gd name="T8" fmla="*/ 310 w 311"/>
                <a:gd name="T9" fmla="*/ 0 h 1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11"/>
                <a:gd name="T16" fmla="*/ 0 h 176"/>
                <a:gd name="T17" fmla="*/ 311 w 311"/>
                <a:gd name="T18" fmla="*/ 176 h 1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11" h="176">
                  <a:moveTo>
                    <a:pt x="310" y="0"/>
                  </a:moveTo>
                  <a:lnTo>
                    <a:pt x="0" y="16"/>
                  </a:lnTo>
                  <a:lnTo>
                    <a:pt x="89" y="73"/>
                  </a:lnTo>
                  <a:lnTo>
                    <a:pt x="43" y="175"/>
                  </a:lnTo>
                  <a:lnTo>
                    <a:pt x="310" y="0"/>
                  </a:lnTo>
                </a:path>
              </a:pathLst>
            </a:custGeom>
            <a:solidFill>
              <a:srgbClr val="00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rnd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200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00720" name="Rectangle 16"/>
          <p:cNvSpPr>
            <a:spLocks noChangeArrowheads="1"/>
          </p:cNvSpPr>
          <p:nvPr/>
        </p:nvSpPr>
        <p:spPr bwMode="auto">
          <a:xfrm>
            <a:off x="393700" y="2273300"/>
            <a:ext cx="3278188" cy="128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278" tIns="41140" rIns="82278" bIns="41140">
            <a:spAutoFit/>
          </a:bodyPr>
          <a:lstStyle/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u="sng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День 2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Значительное нарастание 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АОК в миндалинах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(IgM + IgA)</a:t>
            </a:r>
          </a:p>
        </p:txBody>
      </p:sp>
      <p:sp>
        <p:nvSpPr>
          <p:cNvPr id="200721" name="Rectangle 17"/>
          <p:cNvSpPr>
            <a:spLocks noChangeArrowheads="1"/>
          </p:cNvSpPr>
          <p:nvPr/>
        </p:nvSpPr>
        <p:spPr bwMode="auto">
          <a:xfrm>
            <a:off x="5897563" y="1587500"/>
            <a:ext cx="2941637" cy="128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278" tIns="41140" rIns="82278" bIns="41140">
            <a:spAutoFit/>
          </a:bodyPr>
          <a:lstStyle/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u="sng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День 4-9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Максимальный титр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специфических антител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(IgM + IgA)</a:t>
            </a:r>
          </a:p>
        </p:txBody>
      </p:sp>
      <p:sp>
        <p:nvSpPr>
          <p:cNvPr id="200722" name="Rectangle 18"/>
          <p:cNvSpPr>
            <a:spLocks noChangeArrowheads="1"/>
          </p:cNvSpPr>
          <p:nvPr/>
        </p:nvSpPr>
        <p:spPr bwMode="auto">
          <a:xfrm>
            <a:off x="5329238" y="3663950"/>
            <a:ext cx="3465512" cy="98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278" tIns="41140" rIns="82278" bIns="41140">
            <a:spAutoFit/>
          </a:bodyPr>
          <a:lstStyle/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u="sng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День 21</a:t>
            </a:r>
            <a:endParaRPr lang="ru-RU" sz="200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Поддержание высокого 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титра антител</a:t>
            </a:r>
            <a:r>
              <a:rPr lang="en-US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 </a:t>
            </a: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в полости рта</a:t>
            </a:r>
          </a:p>
        </p:txBody>
      </p:sp>
      <p:sp>
        <p:nvSpPr>
          <p:cNvPr id="520201" name="Rectangle 19"/>
          <p:cNvSpPr>
            <a:spLocks noChangeArrowheads="1"/>
          </p:cNvSpPr>
          <p:nvPr/>
        </p:nvSpPr>
        <p:spPr bwMode="auto">
          <a:xfrm>
            <a:off x="5581650" y="5608638"/>
            <a:ext cx="3529013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>
            <a:spAutoFit/>
          </a:bodyPr>
          <a:lstStyle/>
          <a:p>
            <a:pPr defTabSz="817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Brokstad KA, Cox RJ, Olofsson J, Jonsson R, Haaheim LR.  Journal of </a:t>
            </a:r>
            <a:r>
              <a:rPr lang="en-US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I</a:t>
            </a:r>
            <a:r>
              <a:rPr lang="ru-RU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nfectious </a:t>
            </a:r>
            <a:r>
              <a:rPr lang="en-US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D</a:t>
            </a:r>
            <a:r>
              <a:rPr lang="ru-RU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isease 1995;171:198-203</a:t>
            </a:r>
          </a:p>
        </p:txBody>
      </p:sp>
      <p:sp>
        <p:nvSpPr>
          <p:cNvPr id="200724" name="Rectangle 20"/>
          <p:cNvSpPr>
            <a:spLocks noChangeArrowheads="1"/>
          </p:cNvSpPr>
          <p:nvPr/>
        </p:nvSpPr>
        <p:spPr bwMode="auto">
          <a:xfrm>
            <a:off x="600075" y="5245100"/>
            <a:ext cx="4418013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278" tIns="41140" rIns="82278" bIns="41140">
            <a:spAutoFit/>
          </a:bodyPr>
          <a:lstStyle/>
          <a:p>
            <a:pPr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*АОК - антитело-образующие клетки</a:t>
            </a:r>
          </a:p>
        </p:txBody>
      </p:sp>
    </p:spTree>
    <p:extLst>
      <p:ext uri="{BB962C8B-B14F-4D97-AF65-F5344CB8AC3E}">
        <p14:creationId xmlns:p14="http://schemas.microsoft.com/office/powerpoint/2010/main" val="3291285010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218" name="Rectangle 2"/>
          <p:cNvSpPr>
            <a:spLocks noChangeArrowheads="1"/>
          </p:cNvSpPr>
          <p:nvPr/>
        </p:nvSpPr>
        <p:spPr bwMode="auto">
          <a:xfrm>
            <a:off x="835025" y="5608638"/>
            <a:ext cx="18970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ru-RU" sz="2000" smtClean="0">
              <a:solidFill>
                <a:srgbClr val="000000"/>
              </a:solidFill>
            </a:endParaRPr>
          </a:p>
        </p:txBody>
      </p:sp>
      <p:sp>
        <p:nvSpPr>
          <p:cNvPr id="422915" name="Rectangle 3"/>
          <p:cNvSpPr>
            <a:spLocks noChangeArrowheads="1"/>
          </p:cNvSpPr>
          <p:nvPr/>
        </p:nvSpPr>
        <p:spPr bwMode="blackWhite">
          <a:xfrm>
            <a:off x="1319213" y="274638"/>
            <a:ext cx="6505575" cy="1022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82278" tIns="41140" rIns="82278" bIns="41140"/>
          <a:lstStyle/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200">
                <a:solidFill>
                  <a:srgbClr val="9900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быстрый и интенсивный системный ответ</a:t>
            </a:r>
          </a:p>
        </p:txBody>
      </p:sp>
      <p:sp>
        <p:nvSpPr>
          <p:cNvPr id="422916" name="Rectangle 4"/>
          <p:cNvSpPr>
            <a:spLocks noChangeArrowheads="1"/>
          </p:cNvSpPr>
          <p:nvPr/>
        </p:nvSpPr>
        <p:spPr bwMode="auto">
          <a:xfrm>
            <a:off x="368300" y="2782888"/>
            <a:ext cx="3406775" cy="128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278" tIns="41140" rIns="82278" bIns="41140">
            <a:spAutoFit/>
          </a:bodyPr>
          <a:lstStyle/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u="sng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День 2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Системный ответ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Значительный прирост АОК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(IgG и IgA)</a:t>
            </a:r>
          </a:p>
        </p:txBody>
      </p:sp>
      <p:sp>
        <p:nvSpPr>
          <p:cNvPr id="422917" name="Rectangle 5"/>
          <p:cNvSpPr>
            <a:spLocks noChangeArrowheads="1"/>
          </p:cNvSpPr>
          <p:nvPr/>
        </p:nvSpPr>
        <p:spPr bwMode="auto">
          <a:xfrm>
            <a:off x="6056313" y="1563688"/>
            <a:ext cx="2546350" cy="158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278" tIns="41140" rIns="82278" bIns="41140">
            <a:spAutoFit/>
          </a:bodyPr>
          <a:lstStyle/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u="sng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День 10-15</a:t>
            </a:r>
            <a:endParaRPr lang="ru-RU" sz="2000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(IgA, IgG и IgM)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Достигнут защитный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титр антител для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всех трех штаммов</a:t>
            </a:r>
          </a:p>
        </p:txBody>
      </p:sp>
      <p:sp>
        <p:nvSpPr>
          <p:cNvPr id="422918" name="Rectangle 6"/>
          <p:cNvSpPr>
            <a:spLocks noChangeArrowheads="1"/>
          </p:cNvSpPr>
          <p:nvPr/>
        </p:nvSpPr>
        <p:spPr bwMode="auto">
          <a:xfrm>
            <a:off x="5899150" y="3621088"/>
            <a:ext cx="2965450" cy="98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278" tIns="41140" rIns="82278" bIns="41140">
            <a:spAutoFit/>
          </a:bodyPr>
          <a:lstStyle/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u="sng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Длительность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Иммунитет сохраняется</a:t>
            </a:r>
          </a:p>
          <a:p>
            <a:pPr algn="ctr" defTabSz="817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около 1 года</a:t>
            </a:r>
          </a:p>
        </p:txBody>
      </p:sp>
      <p:sp>
        <p:nvSpPr>
          <p:cNvPr id="521223" name="Rectangle 7"/>
          <p:cNvSpPr>
            <a:spLocks noChangeArrowheads="1"/>
          </p:cNvSpPr>
          <p:nvPr/>
        </p:nvSpPr>
        <p:spPr bwMode="auto">
          <a:xfrm>
            <a:off x="4730750" y="5821363"/>
            <a:ext cx="4537075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78" tIns="41140" rIns="82278" bIns="41140">
            <a:spAutoFit/>
          </a:bodyPr>
          <a:lstStyle/>
          <a:p>
            <a:pPr defTabSz="817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Brokstad KA, Cox RJ, Olofsson J, Jonsson R, Haaheim LR. Journal of </a:t>
            </a:r>
            <a:r>
              <a:rPr lang="en-US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I</a:t>
            </a:r>
            <a:r>
              <a:rPr lang="ru-RU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nfectious </a:t>
            </a:r>
            <a:r>
              <a:rPr lang="en-US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D</a:t>
            </a:r>
            <a:r>
              <a:rPr lang="ru-RU" altLang="ru-RU" sz="900" b="1" i="1" smtClean="0">
                <a:solidFill>
                  <a:srgbClr val="000000"/>
                </a:solidFill>
                <a:latin typeface="Times New Roman" pitchFamily="18" charset="0"/>
              </a:rPr>
              <a:t>isease 1995;171:198-203</a:t>
            </a:r>
          </a:p>
        </p:txBody>
      </p:sp>
      <p:sp>
        <p:nvSpPr>
          <p:cNvPr id="521225" name="Freeform 9"/>
          <p:cNvSpPr>
            <a:spLocks/>
          </p:cNvSpPr>
          <p:nvPr/>
        </p:nvSpPr>
        <p:spPr bwMode="auto">
          <a:xfrm>
            <a:off x="4110038" y="2025650"/>
            <a:ext cx="1362075" cy="2571750"/>
          </a:xfrm>
          <a:custGeom>
            <a:avLst/>
            <a:gdLst>
              <a:gd name="T0" fmla="*/ 0 w 859"/>
              <a:gd name="T1" fmla="*/ 0 h 1620"/>
              <a:gd name="T2" fmla="*/ 2147483647 w 859"/>
              <a:gd name="T3" fmla="*/ 0 h 1620"/>
              <a:gd name="T4" fmla="*/ 2147483647 w 859"/>
              <a:gd name="T5" fmla="*/ 2147483647 h 1620"/>
              <a:gd name="T6" fmla="*/ 0 w 859"/>
              <a:gd name="T7" fmla="*/ 2147483647 h 1620"/>
              <a:gd name="T8" fmla="*/ 0 w 859"/>
              <a:gd name="T9" fmla="*/ 0 h 16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59"/>
              <a:gd name="T16" fmla="*/ 0 h 1620"/>
              <a:gd name="T17" fmla="*/ 859 w 859"/>
              <a:gd name="T18" fmla="*/ 1620 h 162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59" h="1620">
                <a:moveTo>
                  <a:pt x="0" y="0"/>
                </a:moveTo>
                <a:lnTo>
                  <a:pt x="858" y="0"/>
                </a:lnTo>
                <a:lnTo>
                  <a:pt x="858" y="1619"/>
                </a:lnTo>
                <a:lnTo>
                  <a:pt x="0" y="1619"/>
                </a:lnTo>
                <a:lnTo>
                  <a:pt x="0" y="0"/>
                </a:lnTo>
              </a:path>
            </a:pathLst>
          </a:custGeom>
          <a:noFill/>
          <a:ln w="25400" cap="rnd">
            <a:solidFill>
              <a:schemeClr val="bg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26" name="Freeform 10"/>
          <p:cNvSpPr>
            <a:spLocks/>
          </p:cNvSpPr>
          <p:nvPr/>
        </p:nvSpPr>
        <p:spPr bwMode="auto">
          <a:xfrm>
            <a:off x="4438650" y="2122488"/>
            <a:ext cx="682625" cy="2384425"/>
          </a:xfrm>
          <a:custGeom>
            <a:avLst/>
            <a:gdLst>
              <a:gd name="T0" fmla="*/ 2147483647 w 429"/>
              <a:gd name="T1" fmla="*/ 2147483647 h 1501"/>
              <a:gd name="T2" fmla="*/ 2147483647 w 429"/>
              <a:gd name="T3" fmla="*/ 2147483647 h 1501"/>
              <a:gd name="T4" fmla="*/ 2147483647 w 429"/>
              <a:gd name="T5" fmla="*/ 2147483647 h 1501"/>
              <a:gd name="T6" fmla="*/ 2147483647 w 429"/>
              <a:gd name="T7" fmla="*/ 2147483647 h 1501"/>
              <a:gd name="T8" fmla="*/ 2147483647 w 429"/>
              <a:gd name="T9" fmla="*/ 2147483647 h 1501"/>
              <a:gd name="T10" fmla="*/ 2147483647 w 429"/>
              <a:gd name="T11" fmla="*/ 2147483647 h 1501"/>
              <a:gd name="T12" fmla="*/ 2147483647 w 429"/>
              <a:gd name="T13" fmla="*/ 2147483647 h 1501"/>
              <a:gd name="T14" fmla="*/ 2147483647 w 429"/>
              <a:gd name="T15" fmla="*/ 2147483647 h 1501"/>
              <a:gd name="T16" fmla="*/ 2147483647 w 429"/>
              <a:gd name="T17" fmla="*/ 2147483647 h 1501"/>
              <a:gd name="T18" fmla="*/ 2147483647 w 429"/>
              <a:gd name="T19" fmla="*/ 2147483647 h 1501"/>
              <a:gd name="T20" fmla="*/ 2147483647 w 429"/>
              <a:gd name="T21" fmla="*/ 2147483647 h 1501"/>
              <a:gd name="T22" fmla="*/ 0 w 429"/>
              <a:gd name="T23" fmla="*/ 2147483647 h 1501"/>
              <a:gd name="T24" fmla="*/ 2147483647 w 429"/>
              <a:gd name="T25" fmla="*/ 2147483647 h 1501"/>
              <a:gd name="T26" fmla="*/ 2147483647 w 429"/>
              <a:gd name="T27" fmla="*/ 2147483647 h 1501"/>
              <a:gd name="T28" fmla="*/ 2147483647 w 429"/>
              <a:gd name="T29" fmla="*/ 2147483647 h 1501"/>
              <a:gd name="T30" fmla="*/ 2147483647 w 429"/>
              <a:gd name="T31" fmla="*/ 2147483647 h 1501"/>
              <a:gd name="T32" fmla="*/ 2147483647 w 429"/>
              <a:gd name="T33" fmla="*/ 2147483647 h 1501"/>
              <a:gd name="T34" fmla="*/ 2147483647 w 429"/>
              <a:gd name="T35" fmla="*/ 2147483647 h 1501"/>
              <a:gd name="T36" fmla="*/ 2147483647 w 429"/>
              <a:gd name="T37" fmla="*/ 2147483647 h 1501"/>
              <a:gd name="T38" fmla="*/ 2147483647 w 429"/>
              <a:gd name="T39" fmla="*/ 2147483647 h 1501"/>
              <a:gd name="T40" fmla="*/ 2147483647 w 429"/>
              <a:gd name="T41" fmla="*/ 2147483647 h 1501"/>
              <a:gd name="T42" fmla="*/ 2147483647 w 429"/>
              <a:gd name="T43" fmla="*/ 2147483647 h 1501"/>
              <a:gd name="T44" fmla="*/ 2147483647 w 429"/>
              <a:gd name="T45" fmla="*/ 2147483647 h 1501"/>
              <a:gd name="T46" fmla="*/ 2147483647 w 429"/>
              <a:gd name="T47" fmla="*/ 2147483647 h 1501"/>
              <a:gd name="T48" fmla="*/ 2147483647 w 429"/>
              <a:gd name="T49" fmla="*/ 2147483647 h 1501"/>
              <a:gd name="T50" fmla="*/ 2147483647 w 429"/>
              <a:gd name="T51" fmla="*/ 2147483647 h 1501"/>
              <a:gd name="T52" fmla="*/ 2147483647 w 429"/>
              <a:gd name="T53" fmla="*/ 2147483647 h 1501"/>
              <a:gd name="T54" fmla="*/ 2147483647 w 429"/>
              <a:gd name="T55" fmla="*/ 2147483647 h 1501"/>
              <a:gd name="T56" fmla="*/ 2147483647 w 429"/>
              <a:gd name="T57" fmla="*/ 2147483647 h 1501"/>
              <a:gd name="T58" fmla="*/ 2147483647 w 429"/>
              <a:gd name="T59" fmla="*/ 2147483647 h 1501"/>
              <a:gd name="T60" fmla="*/ 2147483647 w 429"/>
              <a:gd name="T61" fmla="*/ 2147483647 h 1501"/>
              <a:gd name="T62" fmla="*/ 2147483647 w 429"/>
              <a:gd name="T63" fmla="*/ 2147483647 h 1501"/>
              <a:gd name="T64" fmla="*/ 2147483647 w 429"/>
              <a:gd name="T65" fmla="*/ 2147483647 h 1501"/>
              <a:gd name="T66" fmla="*/ 2147483647 w 429"/>
              <a:gd name="T67" fmla="*/ 2147483647 h 1501"/>
              <a:gd name="T68" fmla="*/ 2147483647 w 429"/>
              <a:gd name="T69" fmla="*/ 2147483647 h 1501"/>
              <a:gd name="T70" fmla="*/ 2147483647 w 429"/>
              <a:gd name="T71" fmla="*/ 2147483647 h 1501"/>
              <a:gd name="T72" fmla="*/ 2147483647 w 429"/>
              <a:gd name="T73" fmla="*/ 2147483647 h 1501"/>
              <a:gd name="T74" fmla="*/ 2147483647 w 429"/>
              <a:gd name="T75" fmla="*/ 2147483647 h 1501"/>
              <a:gd name="T76" fmla="*/ 2147483647 w 429"/>
              <a:gd name="T77" fmla="*/ 2147483647 h 1501"/>
              <a:gd name="T78" fmla="*/ 2147483647 w 429"/>
              <a:gd name="T79" fmla="*/ 2147483647 h 1501"/>
              <a:gd name="T80" fmla="*/ 2147483647 w 429"/>
              <a:gd name="T81" fmla="*/ 2147483647 h 1501"/>
              <a:gd name="T82" fmla="*/ 2147483647 w 429"/>
              <a:gd name="T83" fmla="*/ 2147483647 h 1501"/>
              <a:gd name="T84" fmla="*/ 2147483647 w 429"/>
              <a:gd name="T85" fmla="*/ 2147483647 h 1501"/>
              <a:gd name="T86" fmla="*/ 2147483647 w 429"/>
              <a:gd name="T87" fmla="*/ 2147483647 h 1501"/>
              <a:gd name="T88" fmla="*/ 2147483647 w 429"/>
              <a:gd name="T89" fmla="*/ 2147483647 h 1501"/>
              <a:gd name="T90" fmla="*/ 2147483647 w 429"/>
              <a:gd name="T91" fmla="*/ 2147483647 h 1501"/>
              <a:gd name="T92" fmla="*/ 2147483647 w 429"/>
              <a:gd name="T93" fmla="*/ 2147483647 h 1501"/>
              <a:gd name="T94" fmla="*/ 2147483647 w 429"/>
              <a:gd name="T95" fmla="*/ 2147483647 h 1501"/>
              <a:gd name="T96" fmla="*/ 2147483647 w 429"/>
              <a:gd name="T97" fmla="*/ 2147483647 h 1501"/>
              <a:gd name="T98" fmla="*/ 2147483647 w 429"/>
              <a:gd name="T99" fmla="*/ 2147483647 h 1501"/>
              <a:gd name="T100" fmla="*/ 2147483647 w 429"/>
              <a:gd name="T101" fmla="*/ 2147483647 h 1501"/>
              <a:gd name="T102" fmla="*/ 2147483647 w 429"/>
              <a:gd name="T103" fmla="*/ 2147483647 h 1501"/>
              <a:gd name="T104" fmla="*/ 2147483647 w 429"/>
              <a:gd name="T105" fmla="*/ 2147483647 h 1501"/>
              <a:gd name="T106" fmla="*/ 2147483647 w 429"/>
              <a:gd name="T107" fmla="*/ 2147483647 h 1501"/>
              <a:gd name="T108" fmla="*/ 2147483647 w 429"/>
              <a:gd name="T109" fmla="*/ 2147483647 h 1501"/>
              <a:gd name="T110" fmla="*/ 2147483647 w 429"/>
              <a:gd name="T111" fmla="*/ 2147483647 h 1501"/>
              <a:gd name="T112" fmla="*/ 2147483647 w 429"/>
              <a:gd name="T113" fmla="*/ 2147483647 h 1501"/>
              <a:gd name="T114" fmla="*/ 2147483647 w 429"/>
              <a:gd name="T115" fmla="*/ 2147483647 h 1501"/>
              <a:gd name="T116" fmla="*/ 2147483647 w 429"/>
              <a:gd name="T117" fmla="*/ 2147483647 h 1501"/>
              <a:gd name="T118" fmla="*/ 2147483647 w 429"/>
              <a:gd name="T119" fmla="*/ 2147483647 h 1501"/>
              <a:gd name="T120" fmla="*/ 2147483647 w 429"/>
              <a:gd name="T121" fmla="*/ 2147483647 h 1501"/>
              <a:gd name="T122" fmla="*/ 2147483647 w 429"/>
              <a:gd name="T123" fmla="*/ 2147483647 h 150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29"/>
              <a:gd name="T187" fmla="*/ 0 h 1501"/>
              <a:gd name="T188" fmla="*/ 429 w 429"/>
              <a:gd name="T189" fmla="*/ 1501 h 1501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29" h="1501">
                <a:moveTo>
                  <a:pt x="231" y="0"/>
                </a:moveTo>
                <a:lnTo>
                  <a:pt x="214" y="0"/>
                </a:lnTo>
                <a:lnTo>
                  <a:pt x="198" y="2"/>
                </a:lnTo>
                <a:lnTo>
                  <a:pt x="185" y="8"/>
                </a:lnTo>
                <a:lnTo>
                  <a:pt x="176" y="14"/>
                </a:lnTo>
                <a:lnTo>
                  <a:pt x="157" y="34"/>
                </a:lnTo>
                <a:lnTo>
                  <a:pt x="144" y="59"/>
                </a:lnTo>
                <a:lnTo>
                  <a:pt x="144" y="95"/>
                </a:lnTo>
                <a:lnTo>
                  <a:pt x="150" y="112"/>
                </a:lnTo>
                <a:lnTo>
                  <a:pt x="139" y="132"/>
                </a:lnTo>
                <a:lnTo>
                  <a:pt x="134" y="142"/>
                </a:lnTo>
                <a:lnTo>
                  <a:pt x="134" y="149"/>
                </a:lnTo>
                <a:lnTo>
                  <a:pt x="140" y="157"/>
                </a:lnTo>
                <a:lnTo>
                  <a:pt x="147" y="164"/>
                </a:lnTo>
                <a:lnTo>
                  <a:pt x="147" y="174"/>
                </a:lnTo>
                <a:lnTo>
                  <a:pt x="149" y="182"/>
                </a:lnTo>
                <a:lnTo>
                  <a:pt x="147" y="194"/>
                </a:lnTo>
                <a:lnTo>
                  <a:pt x="147" y="206"/>
                </a:lnTo>
                <a:lnTo>
                  <a:pt x="165" y="214"/>
                </a:lnTo>
                <a:lnTo>
                  <a:pt x="176" y="216"/>
                </a:lnTo>
                <a:lnTo>
                  <a:pt x="180" y="221"/>
                </a:lnTo>
                <a:lnTo>
                  <a:pt x="180" y="234"/>
                </a:lnTo>
                <a:lnTo>
                  <a:pt x="173" y="248"/>
                </a:lnTo>
                <a:lnTo>
                  <a:pt x="160" y="262"/>
                </a:lnTo>
                <a:lnTo>
                  <a:pt x="145" y="270"/>
                </a:lnTo>
                <a:lnTo>
                  <a:pt x="98" y="282"/>
                </a:lnTo>
                <a:lnTo>
                  <a:pt x="76" y="288"/>
                </a:lnTo>
                <a:lnTo>
                  <a:pt x="58" y="296"/>
                </a:lnTo>
                <a:lnTo>
                  <a:pt x="46" y="310"/>
                </a:lnTo>
                <a:lnTo>
                  <a:pt x="37" y="328"/>
                </a:lnTo>
                <a:lnTo>
                  <a:pt x="31" y="350"/>
                </a:lnTo>
                <a:lnTo>
                  <a:pt x="27" y="376"/>
                </a:lnTo>
                <a:lnTo>
                  <a:pt x="22" y="430"/>
                </a:lnTo>
                <a:lnTo>
                  <a:pt x="14" y="480"/>
                </a:lnTo>
                <a:lnTo>
                  <a:pt x="5" y="542"/>
                </a:lnTo>
                <a:lnTo>
                  <a:pt x="0" y="614"/>
                </a:lnTo>
                <a:lnTo>
                  <a:pt x="5" y="713"/>
                </a:lnTo>
                <a:lnTo>
                  <a:pt x="7" y="848"/>
                </a:lnTo>
                <a:lnTo>
                  <a:pt x="17" y="874"/>
                </a:lnTo>
                <a:lnTo>
                  <a:pt x="36" y="896"/>
                </a:lnTo>
                <a:lnTo>
                  <a:pt x="54" y="911"/>
                </a:lnTo>
                <a:lnTo>
                  <a:pt x="62" y="914"/>
                </a:lnTo>
                <a:lnTo>
                  <a:pt x="66" y="914"/>
                </a:lnTo>
                <a:lnTo>
                  <a:pt x="68" y="902"/>
                </a:lnTo>
                <a:lnTo>
                  <a:pt x="63" y="882"/>
                </a:lnTo>
                <a:lnTo>
                  <a:pt x="50" y="838"/>
                </a:lnTo>
                <a:lnTo>
                  <a:pt x="58" y="859"/>
                </a:lnTo>
                <a:lnTo>
                  <a:pt x="68" y="880"/>
                </a:lnTo>
                <a:lnTo>
                  <a:pt x="78" y="893"/>
                </a:lnTo>
                <a:lnTo>
                  <a:pt x="82" y="895"/>
                </a:lnTo>
                <a:lnTo>
                  <a:pt x="85" y="894"/>
                </a:lnTo>
                <a:lnTo>
                  <a:pt x="78" y="865"/>
                </a:lnTo>
                <a:lnTo>
                  <a:pt x="64" y="816"/>
                </a:lnTo>
                <a:lnTo>
                  <a:pt x="52" y="770"/>
                </a:lnTo>
                <a:lnTo>
                  <a:pt x="49" y="716"/>
                </a:lnTo>
                <a:lnTo>
                  <a:pt x="53" y="685"/>
                </a:lnTo>
                <a:lnTo>
                  <a:pt x="59" y="658"/>
                </a:lnTo>
                <a:lnTo>
                  <a:pt x="65" y="628"/>
                </a:lnTo>
                <a:lnTo>
                  <a:pt x="67" y="594"/>
                </a:lnTo>
                <a:lnTo>
                  <a:pt x="71" y="550"/>
                </a:lnTo>
                <a:lnTo>
                  <a:pt x="79" y="510"/>
                </a:lnTo>
                <a:lnTo>
                  <a:pt x="86" y="473"/>
                </a:lnTo>
                <a:lnTo>
                  <a:pt x="89" y="437"/>
                </a:lnTo>
                <a:lnTo>
                  <a:pt x="92" y="474"/>
                </a:lnTo>
                <a:lnTo>
                  <a:pt x="100" y="509"/>
                </a:lnTo>
                <a:lnTo>
                  <a:pt x="106" y="542"/>
                </a:lnTo>
                <a:lnTo>
                  <a:pt x="107" y="583"/>
                </a:lnTo>
                <a:lnTo>
                  <a:pt x="103" y="641"/>
                </a:lnTo>
                <a:lnTo>
                  <a:pt x="94" y="698"/>
                </a:lnTo>
                <a:lnTo>
                  <a:pt x="86" y="754"/>
                </a:lnTo>
                <a:lnTo>
                  <a:pt x="85" y="811"/>
                </a:lnTo>
                <a:lnTo>
                  <a:pt x="89" y="872"/>
                </a:lnTo>
                <a:lnTo>
                  <a:pt x="100" y="934"/>
                </a:lnTo>
                <a:lnTo>
                  <a:pt x="109" y="997"/>
                </a:lnTo>
                <a:lnTo>
                  <a:pt x="117" y="1064"/>
                </a:lnTo>
                <a:lnTo>
                  <a:pt x="109" y="1117"/>
                </a:lnTo>
                <a:lnTo>
                  <a:pt x="107" y="1177"/>
                </a:lnTo>
                <a:lnTo>
                  <a:pt x="114" y="1228"/>
                </a:lnTo>
                <a:lnTo>
                  <a:pt x="127" y="1274"/>
                </a:lnTo>
                <a:lnTo>
                  <a:pt x="139" y="1325"/>
                </a:lnTo>
                <a:lnTo>
                  <a:pt x="147" y="1386"/>
                </a:lnTo>
                <a:lnTo>
                  <a:pt x="145" y="1400"/>
                </a:lnTo>
                <a:lnTo>
                  <a:pt x="140" y="1415"/>
                </a:lnTo>
                <a:lnTo>
                  <a:pt x="125" y="1441"/>
                </a:lnTo>
                <a:lnTo>
                  <a:pt x="112" y="1463"/>
                </a:lnTo>
                <a:lnTo>
                  <a:pt x="107" y="1478"/>
                </a:lnTo>
                <a:lnTo>
                  <a:pt x="117" y="1488"/>
                </a:lnTo>
                <a:lnTo>
                  <a:pt x="135" y="1493"/>
                </a:lnTo>
                <a:lnTo>
                  <a:pt x="170" y="1498"/>
                </a:lnTo>
                <a:lnTo>
                  <a:pt x="178" y="1489"/>
                </a:lnTo>
                <a:lnTo>
                  <a:pt x="188" y="1474"/>
                </a:lnTo>
                <a:lnTo>
                  <a:pt x="203" y="1441"/>
                </a:lnTo>
                <a:lnTo>
                  <a:pt x="203" y="1386"/>
                </a:lnTo>
                <a:lnTo>
                  <a:pt x="198" y="1351"/>
                </a:lnTo>
                <a:lnTo>
                  <a:pt x="193" y="1310"/>
                </a:lnTo>
                <a:lnTo>
                  <a:pt x="202" y="1180"/>
                </a:lnTo>
                <a:lnTo>
                  <a:pt x="203" y="1128"/>
                </a:lnTo>
                <a:lnTo>
                  <a:pt x="197" y="1072"/>
                </a:lnTo>
                <a:lnTo>
                  <a:pt x="204" y="1046"/>
                </a:lnTo>
                <a:lnTo>
                  <a:pt x="209" y="1020"/>
                </a:lnTo>
                <a:lnTo>
                  <a:pt x="210" y="964"/>
                </a:lnTo>
                <a:lnTo>
                  <a:pt x="210" y="904"/>
                </a:lnTo>
                <a:lnTo>
                  <a:pt x="214" y="845"/>
                </a:lnTo>
                <a:lnTo>
                  <a:pt x="219" y="967"/>
                </a:lnTo>
                <a:lnTo>
                  <a:pt x="219" y="1020"/>
                </a:lnTo>
                <a:lnTo>
                  <a:pt x="213" y="1068"/>
                </a:lnTo>
                <a:lnTo>
                  <a:pt x="216" y="1098"/>
                </a:lnTo>
                <a:lnTo>
                  <a:pt x="214" y="1127"/>
                </a:lnTo>
                <a:lnTo>
                  <a:pt x="209" y="1182"/>
                </a:lnTo>
                <a:lnTo>
                  <a:pt x="215" y="1262"/>
                </a:lnTo>
                <a:lnTo>
                  <a:pt x="220" y="1337"/>
                </a:lnTo>
                <a:lnTo>
                  <a:pt x="218" y="1361"/>
                </a:lnTo>
                <a:lnTo>
                  <a:pt x="212" y="1384"/>
                </a:lnTo>
                <a:lnTo>
                  <a:pt x="208" y="1409"/>
                </a:lnTo>
                <a:lnTo>
                  <a:pt x="208" y="1438"/>
                </a:lnTo>
                <a:lnTo>
                  <a:pt x="223" y="1450"/>
                </a:lnTo>
                <a:lnTo>
                  <a:pt x="237" y="1469"/>
                </a:lnTo>
                <a:lnTo>
                  <a:pt x="256" y="1500"/>
                </a:lnTo>
                <a:lnTo>
                  <a:pt x="273" y="1496"/>
                </a:lnTo>
                <a:lnTo>
                  <a:pt x="290" y="1489"/>
                </a:lnTo>
                <a:lnTo>
                  <a:pt x="305" y="1480"/>
                </a:lnTo>
                <a:lnTo>
                  <a:pt x="315" y="1469"/>
                </a:lnTo>
                <a:lnTo>
                  <a:pt x="315" y="1460"/>
                </a:lnTo>
                <a:lnTo>
                  <a:pt x="309" y="1453"/>
                </a:lnTo>
                <a:lnTo>
                  <a:pt x="293" y="1436"/>
                </a:lnTo>
                <a:lnTo>
                  <a:pt x="274" y="1418"/>
                </a:lnTo>
                <a:lnTo>
                  <a:pt x="264" y="1400"/>
                </a:lnTo>
                <a:lnTo>
                  <a:pt x="266" y="1367"/>
                </a:lnTo>
                <a:lnTo>
                  <a:pt x="274" y="1308"/>
                </a:lnTo>
                <a:lnTo>
                  <a:pt x="285" y="1238"/>
                </a:lnTo>
                <a:lnTo>
                  <a:pt x="293" y="1174"/>
                </a:lnTo>
                <a:lnTo>
                  <a:pt x="300" y="1015"/>
                </a:lnTo>
                <a:lnTo>
                  <a:pt x="308" y="982"/>
                </a:lnTo>
                <a:lnTo>
                  <a:pt x="319" y="946"/>
                </a:lnTo>
                <a:lnTo>
                  <a:pt x="328" y="901"/>
                </a:lnTo>
                <a:lnTo>
                  <a:pt x="338" y="841"/>
                </a:lnTo>
                <a:lnTo>
                  <a:pt x="340" y="776"/>
                </a:lnTo>
                <a:lnTo>
                  <a:pt x="338" y="709"/>
                </a:lnTo>
                <a:lnTo>
                  <a:pt x="331" y="595"/>
                </a:lnTo>
                <a:lnTo>
                  <a:pt x="340" y="516"/>
                </a:lnTo>
                <a:lnTo>
                  <a:pt x="344" y="474"/>
                </a:lnTo>
                <a:lnTo>
                  <a:pt x="344" y="428"/>
                </a:lnTo>
                <a:lnTo>
                  <a:pt x="352" y="460"/>
                </a:lnTo>
                <a:lnTo>
                  <a:pt x="354" y="490"/>
                </a:lnTo>
                <a:lnTo>
                  <a:pt x="359" y="546"/>
                </a:lnTo>
                <a:lnTo>
                  <a:pt x="361" y="653"/>
                </a:lnTo>
                <a:lnTo>
                  <a:pt x="368" y="719"/>
                </a:lnTo>
                <a:lnTo>
                  <a:pt x="371" y="751"/>
                </a:lnTo>
                <a:lnTo>
                  <a:pt x="370" y="770"/>
                </a:lnTo>
                <a:lnTo>
                  <a:pt x="355" y="805"/>
                </a:lnTo>
                <a:lnTo>
                  <a:pt x="345" y="829"/>
                </a:lnTo>
                <a:lnTo>
                  <a:pt x="339" y="857"/>
                </a:lnTo>
                <a:lnTo>
                  <a:pt x="346" y="853"/>
                </a:lnTo>
                <a:lnTo>
                  <a:pt x="353" y="844"/>
                </a:lnTo>
                <a:lnTo>
                  <a:pt x="371" y="826"/>
                </a:lnTo>
                <a:lnTo>
                  <a:pt x="349" y="866"/>
                </a:lnTo>
                <a:lnTo>
                  <a:pt x="341" y="884"/>
                </a:lnTo>
                <a:lnTo>
                  <a:pt x="341" y="894"/>
                </a:lnTo>
                <a:lnTo>
                  <a:pt x="352" y="894"/>
                </a:lnTo>
                <a:lnTo>
                  <a:pt x="370" y="884"/>
                </a:lnTo>
                <a:lnTo>
                  <a:pt x="390" y="868"/>
                </a:lnTo>
                <a:lnTo>
                  <a:pt x="405" y="845"/>
                </a:lnTo>
                <a:lnTo>
                  <a:pt x="418" y="746"/>
                </a:lnTo>
                <a:lnTo>
                  <a:pt x="426" y="667"/>
                </a:lnTo>
                <a:lnTo>
                  <a:pt x="428" y="592"/>
                </a:lnTo>
                <a:lnTo>
                  <a:pt x="417" y="436"/>
                </a:lnTo>
                <a:lnTo>
                  <a:pt x="412" y="353"/>
                </a:lnTo>
                <a:lnTo>
                  <a:pt x="409" y="324"/>
                </a:lnTo>
                <a:lnTo>
                  <a:pt x="405" y="308"/>
                </a:lnTo>
                <a:lnTo>
                  <a:pt x="395" y="301"/>
                </a:lnTo>
                <a:lnTo>
                  <a:pt x="379" y="293"/>
                </a:lnTo>
                <a:lnTo>
                  <a:pt x="336" y="275"/>
                </a:lnTo>
                <a:lnTo>
                  <a:pt x="295" y="253"/>
                </a:lnTo>
                <a:lnTo>
                  <a:pt x="281" y="241"/>
                </a:lnTo>
                <a:lnTo>
                  <a:pt x="274" y="229"/>
                </a:lnTo>
                <a:lnTo>
                  <a:pt x="279" y="202"/>
                </a:lnTo>
                <a:lnTo>
                  <a:pt x="292" y="169"/>
                </a:lnTo>
                <a:lnTo>
                  <a:pt x="305" y="131"/>
                </a:lnTo>
                <a:lnTo>
                  <a:pt x="310" y="110"/>
                </a:lnTo>
                <a:lnTo>
                  <a:pt x="310" y="89"/>
                </a:lnTo>
                <a:lnTo>
                  <a:pt x="310" y="71"/>
                </a:lnTo>
                <a:lnTo>
                  <a:pt x="305" y="54"/>
                </a:lnTo>
                <a:lnTo>
                  <a:pt x="300" y="40"/>
                </a:lnTo>
                <a:lnTo>
                  <a:pt x="292" y="28"/>
                </a:lnTo>
                <a:lnTo>
                  <a:pt x="281" y="17"/>
                </a:lnTo>
                <a:lnTo>
                  <a:pt x="268" y="8"/>
                </a:lnTo>
                <a:lnTo>
                  <a:pt x="250" y="2"/>
                </a:lnTo>
                <a:lnTo>
                  <a:pt x="231" y="0"/>
                </a:lnTo>
              </a:path>
            </a:pathLst>
          </a:custGeom>
          <a:solidFill>
            <a:srgbClr val="FFE681"/>
          </a:solidFill>
          <a:ln w="12700" cap="rnd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27" name="Freeform 11"/>
          <p:cNvSpPr>
            <a:spLocks/>
          </p:cNvSpPr>
          <p:nvPr/>
        </p:nvSpPr>
        <p:spPr bwMode="auto">
          <a:xfrm>
            <a:off x="4792663" y="2339975"/>
            <a:ext cx="23812" cy="133350"/>
          </a:xfrm>
          <a:custGeom>
            <a:avLst/>
            <a:gdLst>
              <a:gd name="T0" fmla="*/ 2147483647 w 15"/>
              <a:gd name="T1" fmla="*/ 0 h 84"/>
              <a:gd name="T2" fmla="*/ 2147483647 w 15"/>
              <a:gd name="T3" fmla="*/ 0 h 84"/>
              <a:gd name="T4" fmla="*/ 0 w 15"/>
              <a:gd name="T5" fmla="*/ 2147483647 h 84"/>
              <a:gd name="T6" fmla="*/ 2147483647 w 15"/>
              <a:gd name="T7" fmla="*/ 2147483647 h 84"/>
              <a:gd name="T8" fmla="*/ 2147483647 w 15"/>
              <a:gd name="T9" fmla="*/ 0 h 84"/>
              <a:gd name="T10" fmla="*/ 2147483647 w 15"/>
              <a:gd name="T11" fmla="*/ 0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84"/>
              <a:gd name="T20" fmla="*/ 15 w 15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84">
                <a:moveTo>
                  <a:pt x="8" y="0"/>
                </a:moveTo>
                <a:lnTo>
                  <a:pt x="2" y="0"/>
                </a:lnTo>
                <a:lnTo>
                  <a:pt x="0" y="83"/>
                </a:lnTo>
                <a:lnTo>
                  <a:pt x="11" y="83"/>
                </a:lnTo>
                <a:lnTo>
                  <a:pt x="14" y="0"/>
                </a:lnTo>
                <a:lnTo>
                  <a:pt x="8" y="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28" name="Freeform 12"/>
          <p:cNvSpPr>
            <a:spLocks/>
          </p:cNvSpPr>
          <p:nvPr/>
        </p:nvSpPr>
        <p:spPr bwMode="auto">
          <a:xfrm>
            <a:off x="4759325" y="2260600"/>
            <a:ext cx="77788" cy="79375"/>
          </a:xfrm>
          <a:custGeom>
            <a:avLst/>
            <a:gdLst>
              <a:gd name="T0" fmla="*/ 2147483647 w 49"/>
              <a:gd name="T1" fmla="*/ 0 h 50"/>
              <a:gd name="T2" fmla="*/ 0 w 49"/>
              <a:gd name="T3" fmla="*/ 2147483647 h 50"/>
              <a:gd name="T4" fmla="*/ 2147483647 w 49"/>
              <a:gd name="T5" fmla="*/ 0 h 50"/>
              <a:gd name="T6" fmla="*/ 2147483647 w 49"/>
              <a:gd name="T7" fmla="*/ 2147483647 h 50"/>
              <a:gd name="T8" fmla="*/ 0 w 49"/>
              <a:gd name="T9" fmla="*/ 2147483647 h 50"/>
              <a:gd name="T10" fmla="*/ 2147483647 w 49"/>
              <a:gd name="T11" fmla="*/ 0 h 5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"/>
              <a:gd name="T19" fmla="*/ 0 h 50"/>
              <a:gd name="T20" fmla="*/ 49 w 49"/>
              <a:gd name="T21" fmla="*/ 50 h 5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" h="50">
                <a:moveTo>
                  <a:pt x="25" y="0"/>
                </a:moveTo>
                <a:lnTo>
                  <a:pt x="0" y="48"/>
                </a:lnTo>
                <a:lnTo>
                  <a:pt x="25" y="0"/>
                </a:lnTo>
                <a:lnTo>
                  <a:pt x="48" y="49"/>
                </a:lnTo>
                <a:lnTo>
                  <a:pt x="0" y="48"/>
                </a:lnTo>
                <a:lnTo>
                  <a:pt x="25" y="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29" name="Freeform 13"/>
          <p:cNvSpPr>
            <a:spLocks/>
          </p:cNvSpPr>
          <p:nvPr/>
        </p:nvSpPr>
        <p:spPr bwMode="auto">
          <a:xfrm>
            <a:off x="4700588" y="2682875"/>
            <a:ext cx="26987" cy="133350"/>
          </a:xfrm>
          <a:custGeom>
            <a:avLst/>
            <a:gdLst>
              <a:gd name="T0" fmla="*/ 2147483647 w 17"/>
              <a:gd name="T1" fmla="*/ 2147483647 h 84"/>
              <a:gd name="T2" fmla="*/ 0 w 17"/>
              <a:gd name="T3" fmla="*/ 2147483647 h 84"/>
              <a:gd name="T4" fmla="*/ 2147483647 w 17"/>
              <a:gd name="T5" fmla="*/ 2147483647 h 84"/>
              <a:gd name="T6" fmla="*/ 2147483647 w 17"/>
              <a:gd name="T7" fmla="*/ 2147483647 h 84"/>
              <a:gd name="T8" fmla="*/ 2147483647 w 17"/>
              <a:gd name="T9" fmla="*/ 0 h 84"/>
              <a:gd name="T10" fmla="*/ 2147483647 w 17"/>
              <a:gd name="T11" fmla="*/ 2147483647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84"/>
              <a:gd name="T20" fmla="*/ 17 w 17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84">
                <a:moveTo>
                  <a:pt x="4" y="1"/>
                </a:moveTo>
                <a:lnTo>
                  <a:pt x="0" y="1"/>
                </a:lnTo>
                <a:lnTo>
                  <a:pt x="8" y="83"/>
                </a:lnTo>
                <a:lnTo>
                  <a:pt x="16" y="82"/>
                </a:lnTo>
                <a:lnTo>
                  <a:pt x="8" y="0"/>
                </a:lnTo>
                <a:lnTo>
                  <a:pt x="4" y="1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0" name="Freeform 14"/>
          <p:cNvSpPr>
            <a:spLocks/>
          </p:cNvSpPr>
          <p:nvPr/>
        </p:nvSpPr>
        <p:spPr bwMode="auto">
          <a:xfrm>
            <a:off x="4667250" y="2605088"/>
            <a:ext cx="77788" cy="85725"/>
          </a:xfrm>
          <a:custGeom>
            <a:avLst/>
            <a:gdLst>
              <a:gd name="T0" fmla="*/ 2147483647 w 49"/>
              <a:gd name="T1" fmla="*/ 0 h 54"/>
              <a:gd name="T2" fmla="*/ 0 w 49"/>
              <a:gd name="T3" fmla="*/ 2147483647 h 54"/>
              <a:gd name="T4" fmla="*/ 2147483647 w 49"/>
              <a:gd name="T5" fmla="*/ 0 h 54"/>
              <a:gd name="T6" fmla="*/ 2147483647 w 49"/>
              <a:gd name="T7" fmla="*/ 2147483647 h 54"/>
              <a:gd name="T8" fmla="*/ 0 w 49"/>
              <a:gd name="T9" fmla="*/ 2147483647 h 54"/>
              <a:gd name="T10" fmla="*/ 2147483647 w 49"/>
              <a:gd name="T11" fmla="*/ 0 h 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"/>
              <a:gd name="T19" fmla="*/ 0 h 54"/>
              <a:gd name="T20" fmla="*/ 49 w 49"/>
              <a:gd name="T21" fmla="*/ 54 h 5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" h="54">
                <a:moveTo>
                  <a:pt x="17" y="0"/>
                </a:moveTo>
                <a:lnTo>
                  <a:pt x="0" y="53"/>
                </a:lnTo>
                <a:lnTo>
                  <a:pt x="17" y="0"/>
                </a:lnTo>
                <a:lnTo>
                  <a:pt x="48" y="45"/>
                </a:lnTo>
                <a:lnTo>
                  <a:pt x="0" y="53"/>
                </a:lnTo>
                <a:lnTo>
                  <a:pt x="17" y="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1" name="Freeform 15"/>
          <p:cNvSpPr>
            <a:spLocks/>
          </p:cNvSpPr>
          <p:nvPr/>
        </p:nvSpPr>
        <p:spPr bwMode="auto">
          <a:xfrm>
            <a:off x="4845050" y="2676525"/>
            <a:ext cx="33338" cy="131763"/>
          </a:xfrm>
          <a:custGeom>
            <a:avLst/>
            <a:gdLst>
              <a:gd name="T0" fmla="*/ 2147483647 w 19"/>
              <a:gd name="T1" fmla="*/ 0 h 84"/>
              <a:gd name="T2" fmla="*/ 2147483647 w 19"/>
              <a:gd name="T3" fmla="*/ 0 h 84"/>
              <a:gd name="T4" fmla="*/ 0 w 19"/>
              <a:gd name="T5" fmla="*/ 2147483647 h 84"/>
              <a:gd name="T6" fmla="*/ 2147483647 w 19"/>
              <a:gd name="T7" fmla="*/ 2147483647 h 84"/>
              <a:gd name="T8" fmla="*/ 2147483647 w 19"/>
              <a:gd name="T9" fmla="*/ 2147483647 h 84"/>
              <a:gd name="T10" fmla="*/ 2147483647 w 19"/>
              <a:gd name="T11" fmla="*/ 0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84"/>
              <a:gd name="T20" fmla="*/ 19 w 19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84">
                <a:moveTo>
                  <a:pt x="14" y="0"/>
                </a:moveTo>
                <a:lnTo>
                  <a:pt x="11" y="0"/>
                </a:lnTo>
                <a:lnTo>
                  <a:pt x="0" y="82"/>
                </a:lnTo>
                <a:lnTo>
                  <a:pt x="6" y="83"/>
                </a:lnTo>
                <a:lnTo>
                  <a:pt x="18" y="1"/>
                </a:lnTo>
                <a:lnTo>
                  <a:pt x="14" y="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2" name="Freeform 16"/>
          <p:cNvSpPr>
            <a:spLocks/>
          </p:cNvSpPr>
          <p:nvPr/>
        </p:nvSpPr>
        <p:spPr bwMode="auto">
          <a:xfrm>
            <a:off x="4835525" y="2598738"/>
            <a:ext cx="74613" cy="87312"/>
          </a:xfrm>
          <a:custGeom>
            <a:avLst/>
            <a:gdLst>
              <a:gd name="T0" fmla="*/ 2147483647 w 47"/>
              <a:gd name="T1" fmla="*/ 0 h 55"/>
              <a:gd name="T2" fmla="*/ 0 w 47"/>
              <a:gd name="T3" fmla="*/ 2147483647 h 55"/>
              <a:gd name="T4" fmla="*/ 2147483647 w 47"/>
              <a:gd name="T5" fmla="*/ 0 h 55"/>
              <a:gd name="T6" fmla="*/ 2147483647 w 47"/>
              <a:gd name="T7" fmla="*/ 2147483647 h 55"/>
              <a:gd name="T8" fmla="*/ 0 w 47"/>
              <a:gd name="T9" fmla="*/ 2147483647 h 55"/>
              <a:gd name="T10" fmla="*/ 2147483647 w 47"/>
              <a:gd name="T11" fmla="*/ 0 h 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7"/>
              <a:gd name="T19" fmla="*/ 0 h 55"/>
              <a:gd name="T20" fmla="*/ 47 w 47"/>
              <a:gd name="T21" fmla="*/ 55 h 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7" h="55">
                <a:moveTo>
                  <a:pt x="34" y="0"/>
                </a:moveTo>
                <a:lnTo>
                  <a:pt x="0" y="42"/>
                </a:lnTo>
                <a:lnTo>
                  <a:pt x="34" y="0"/>
                </a:lnTo>
                <a:lnTo>
                  <a:pt x="46" y="54"/>
                </a:lnTo>
                <a:lnTo>
                  <a:pt x="0" y="42"/>
                </a:lnTo>
                <a:lnTo>
                  <a:pt x="34" y="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3" name="Freeform 17"/>
          <p:cNvSpPr>
            <a:spLocks/>
          </p:cNvSpPr>
          <p:nvPr/>
        </p:nvSpPr>
        <p:spPr bwMode="auto">
          <a:xfrm>
            <a:off x="4967288" y="2625725"/>
            <a:ext cx="57150" cy="131763"/>
          </a:xfrm>
          <a:custGeom>
            <a:avLst/>
            <a:gdLst>
              <a:gd name="T0" fmla="*/ 2147483647 w 36"/>
              <a:gd name="T1" fmla="*/ 2147483647 h 83"/>
              <a:gd name="T2" fmla="*/ 2147483647 w 36"/>
              <a:gd name="T3" fmla="*/ 2147483647 h 83"/>
              <a:gd name="T4" fmla="*/ 2147483647 w 36"/>
              <a:gd name="T5" fmla="*/ 0 h 83"/>
              <a:gd name="T6" fmla="*/ 0 w 36"/>
              <a:gd name="T7" fmla="*/ 2147483647 h 83"/>
              <a:gd name="T8" fmla="*/ 2147483647 w 36"/>
              <a:gd name="T9" fmla="*/ 2147483647 h 83"/>
              <a:gd name="T10" fmla="*/ 2147483647 w 36"/>
              <a:gd name="T11" fmla="*/ 2147483647 h 8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6"/>
              <a:gd name="T19" fmla="*/ 0 h 83"/>
              <a:gd name="T20" fmla="*/ 36 w 36"/>
              <a:gd name="T21" fmla="*/ 83 h 8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6" h="83">
                <a:moveTo>
                  <a:pt x="31" y="80"/>
                </a:moveTo>
                <a:lnTo>
                  <a:pt x="35" y="78"/>
                </a:lnTo>
                <a:lnTo>
                  <a:pt x="7" y="0"/>
                </a:lnTo>
                <a:lnTo>
                  <a:pt x="0" y="4"/>
                </a:lnTo>
                <a:lnTo>
                  <a:pt x="28" y="82"/>
                </a:lnTo>
                <a:lnTo>
                  <a:pt x="31" y="8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4" name="Freeform 18"/>
          <p:cNvSpPr>
            <a:spLocks/>
          </p:cNvSpPr>
          <p:nvPr/>
        </p:nvSpPr>
        <p:spPr bwMode="auto">
          <a:xfrm>
            <a:off x="4983163" y="2733675"/>
            <a:ext cx="71437" cy="93663"/>
          </a:xfrm>
          <a:custGeom>
            <a:avLst/>
            <a:gdLst>
              <a:gd name="T0" fmla="*/ 2147483647 w 46"/>
              <a:gd name="T1" fmla="*/ 2147483647 h 59"/>
              <a:gd name="T2" fmla="*/ 2147483647 w 46"/>
              <a:gd name="T3" fmla="*/ 0 h 59"/>
              <a:gd name="T4" fmla="*/ 2147483647 w 46"/>
              <a:gd name="T5" fmla="*/ 2147483647 h 59"/>
              <a:gd name="T6" fmla="*/ 0 w 46"/>
              <a:gd name="T7" fmla="*/ 2147483647 h 59"/>
              <a:gd name="T8" fmla="*/ 2147483647 w 46"/>
              <a:gd name="T9" fmla="*/ 0 h 59"/>
              <a:gd name="T10" fmla="*/ 2147483647 w 46"/>
              <a:gd name="T11" fmla="*/ 2147483647 h 5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6"/>
              <a:gd name="T19" fmla="*/ 0 h 59"/>
              <a:gd name="T20" fmla="*/ 46 w 46"/>
              <a:gd name="T21" fmla="*/ 59 h 5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6" h="59">
                <a:moveTo>
                  <a:pt x="40" y="58"/>
                </a:moveTo>
                <a:lnTo>
                  <a:pt x="45" y="0"/>
                </a:lnTo>
                <a:lnTo>
                  <a:pt x="40" y="58"/>
                </a:lnTo>
                <a:lnTo>
                  <a:pt x="0" y="23"/>
                </a:lnTo>
                <a:lnTo>
                  <a:pt x="45" y="0"/>
                </a:lnTo>
                <a:lnTo>
                  <a:pt x="40" y="58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5" name="Freeform 19"/>
          <p:cNvSpPr>
            <a:spLocks/>
          </p:cNvSpPr>
          <p:nvPr/>
        </p:nvSpPr>
        <p:spPr bwMode="auto">
          <a:xfrm>
            <a:off x="4535488" y="2635250"/>
            <a:ext cx="57150" cy="130175"/>
          </a:xfrm>
          <a:custGeom>
            <a:avLst/>
            <a:gdLst>
              <a:gd name="T0" fmla="*/ 2147483647 w 37"/>
              <a:gd name="T1" fmla="*/ 2147483647 h 83"/>
              <a:gd name="T2" fmla="*/ 2147483647 w 37"/>
              <a:gd name="T3" fmla="*/ 2147483647 h 83"/>
              <a:gd name="T4" fmla="*/ 2147483647 w 37"/>
              <a:gd name="T5" fmla="*/ 2147483647 h 83"/>
              <a:gd name="T6" fmla="*/ 2147483647 w 37"/>
              <a:gd name="T7" fmla="*/ 0 h 83"/>
              <a:gd name="T8" fmla="*/ 0 w 37"/>
              <a:gd name="T9" fmla="*/ 2147483647 h 83"/>
              <a:gd name="T10" fmla="*/ 2147483647 w 37"/>
              <a:gd name="T11" fmla="*/ 2147483647 h 8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7"/>
              <a:gd name="T19" fmla="*/ 0 h 83"/>
              <a:gd name="T20" fmla="*/ 37 w 37"/>
              <a:gd name="T21" fmla="*/ 83 h 8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7" h="83">
                <a:moveTo>
                  <a:pt x="4" y="80"/>
                </a:moveTo>
                <a:lnTo>
                  <a:pt x="7" y="82"/>
                </a:lnTo>
                <a:lnTo>
                  <a:pt x="36" y="6"/>
                </a:lnTo>
                <a:lnTo>
                  <a:pt x="29" y="0"/>
                </a:lnTo>
                <a:lnTo>
                  <a:pt x="0" y="78"/>
                </a:lnTo>
                <a:lnTo>
                  <a:pt x="4" y="8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6" name="Freeform 20"/>
          <p:cNvSpPr>
            <a:spLocks/>
          </p:cNvSpPr>
          <p:nvPr/>
        </p:nvSpPr>
        <p:spPr bwMode="auto">
          <a:xfrm>
            <a:off x="4505325" y="2746375"/>
            <a:ext cx="69850" cy="90488"/>
          </a:xfrm>
          <a:custGeom>
            <a:avLst/>
            <a:gdLst>
              <a:gd name="T0" fmla="*/ 2147483647 w 43"/>
              <a:gd name="T1" fmla="*/ 2147483647 h 57"/>
              <a:gd name="T2" fmla="*/ 2147483647 w 43"/>
              <a:gd name="T3" fmla="*/ 2147483647 h 57"/>
              <a:gd name="T4" fmla="*/ 2147483647 w 43"/>
              <a:gd name="T5" fmla="*/ 2147483647 h 57"/>
              <a:gd name="T6" fmla="*/ 0 w 43"/>
              <a:gd name="T7" fmla="*/ 0 h 57"/>
              <a:gd name="T8" fmla="*/ 2147483647 w 43"/>
              <a:gd name="T9" fmla="*/ 2147483647 h 57"/>
              <a:gd name="T10" fmla="*/ 2147483647 w 43"/>
              <a:gd name="T11" fmla="*/ 2147483647 h 5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3"/>
              <a:gd name="T19" fmla="*/ 0 h 57"/>
              <a:gd name="T20" fmla="*/ 43 w 43"/>
              <a:gd name="T21" fmla="*/ 57 h 5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3" h="57">
                <a:moveTo>
                  <a:pt x="5" y="56"/>
                </a:moveTo>
                <a:lnTo>
                  <a:pt x="42" y="22"/>
                </a:lnTo>
                <a:lnTo>
                  <a:pt x="5" y="56"/>
                </a:lnTo>
                <a:lnTo>
                  <a:pt x="0" y="0"/>
                </a:lnTo>
                <a:lnTo>
                  <a:pt x="42" y="22"/>
                </a:lnTo>
                <a:lnTo>
                  <a:pt x="5" y="56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7" name="Freeform 21"/>
          <p:cNvSpPr>
            <a:spLocks/>
          </p:cNvSpPr>
          <p:nvPr/>
        </p:nvSpPr>
        <p:spPr bwMode="auto">
          <a:xfrm>
            <a:off x="4687888" y="2941638"/>
            <a:ext cx="38100" cy="134937"/>
          </a:xfrm>
          <a:custGeom>
            <a:avLst/>
            <a:gdLst>
              <a:gd name="T0" fmla="*/ 2147483647 w 23"/>
              <a:gd name="T1" fmla="*/ 2147483647 h 85"/>
              <a:gd name="T2" fmla="*/ 2147483647 w 23"/>
              <a:gd name="T3" fmla="*/ 2147483647 h 85"/>
              <a:gd name="T4" fmla="*/ 2147483647 w 23"/>
              <a:gd name="T5" fmla="*/ 2147483647 h 85"/>
              <a:gd name="T6" fmla="*/ 2147483647 w 23"/>
              <a:gd name="T7" fmla="*/ 0 h 85"/>
              <a:gd name="T8" fmla="*/ 0 w 23"/>
              <a:gd name="T9" fmla="*/ 2147483647 h 85"/>
              <a:gd name="T10" fmla="*/ 2147483647 w 23"/>
              <a:gd name="T11" fmla="*/ 2147483647 h 8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"/>
              <a:gd name="T19" fmla="*/ 0 h 85"/>
              <a:gd name="T20" fmla="*/ 23 w 23"/>
              <a:gd name="T21" fmla="*/ 85 h 8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" h="85">
                <a:moveTo>
                  <a:pt x="5" y="83"/>
                </a:moveTo>
                <a:lnTo>
                  <a:pt x="8" y="84"/>
                </a:lnTo>
                <a:lnTo>
                  <a:pt x="22" y="2"/>
                </a:lnTo>
                <a:lnTo>
                  <a:pt x="15" y="0"/>
                </a:lnTo>
                <a:lnTo>
                  <a:pt x="0" y="82"/>
                </a:lnTo>
                <a:lnTo>
                  <a:pt x="5" y="83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8" name="Freeform 22"/>
          <p:cNvSpPr>
            <a:spLocks/>
          </p:cNvSpPr>
          <p:nvPr/>
        </p:nvSpPr>
        <p:spPr bwMode="auto">
          <a:xfrm>
            <a:off x="4657725" y="3065463"/>
            <a:ext cx="73025" cy="88900"/>
          </a:xfrm>
          <a:custGeom>
            <a:avLst/>
            <a:gdLst>
              <a:gd name="T0" fmla="*/ 2147483647 w 46"/>
              <a:gd name="T1" fmla="*/ 2147483647 h 56"/>
              <a:gd name="T2" fmla="*/ 2147483647 w 46"/>
              <a:gd name="T3" fmla="*/ 2147483647 h 56"/>
              <a:gd name="T4" fmla="*/ 2147483647 w 46"/>
              <a:gd name="T5" fmla="*/ 2147483647 h 56"/>
              <a:gd name="T6" fmla="*/ 0 w 46"/>
              <a:gd name="T7" fmla="*/ 0 h 56"/>
              <a:gd name="T8" fmla="*/ 2147483647 w 46"/>
              <a:gd name="T9" fmla="*/ 2147483647 h 56"/>
              <a:gd name="T10" fmla="*/ 2147483647 w 46"/>
              <a:gd name="T11" fmla="*/ 2147483647 h 5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6"/>
              <a:gd name="T19" fmla="*/ 0 h 56"/>
              <a:gd name="T20" fmla="*/ 46 w 46"/>
              <a:gd name="T21" fmla="*/ 56 h 5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6" h="56">
                <a:moveTo>
                  <a:pt x="12" y="55"/>
                </a:moveTo>
                <a:lnTo>
                  <a:pt x="45" y="12"/>
                </a:lnTo>
                <a:lnTo>
                  <a:pt x="12" y="55"/>
                </a:lnTo>
                <a:lnTo>
                  <a:pt x="0" y="0"/>
                </a:lnTo>
                <a:lnTo>
                  <a:pt x="45" y="12"/>
                </a:lnTo>
                <a:lnTo>
                  <a:pt x="12" y="55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39" name="Freeform 23"/>
          <p:cNvSpPr>
            <a:spLocks/>
          </p:cNvSpPr>
          <p:nvPr/>
        </p:nvSpPr>
        <p:spPr bwMode="auto">
          <a:xfrm>
            <a:off x="4475163" y="3032125"/>
            <a:ext cx="25400" cy="131763"/>
          </a:xfrm>
          <a:custGeom>
            <a:avLst/>
            <a:gdLst>
              <a:gd name="T0" fmla="*/ 2147483647 w 16"/>
              <a:gd name="T1" fmla="*/ 2147483647 h 83"/>
              <a:gd name="T2" fmla="*/ 2147483647 w 16"/>
              <a:gd name="T3" fmla="*/ 2147483647 h 83"/>
              <a:gd name="T4" fmla="*/ 2147483647 w 16"/>
              <a:gd name="T5" fmla="*/ 0 h 83"/>
              <a:gd name="T6" fmla="*/ 2147483647 w 16"/>
              <a:gd name="T7" fmla="*/ 0 h 83"/>
              <a:gd name="T8" fmla="*/ 0 w 16"/>
              <a:gd name="T9" fmla="*/ 2147483647 h 83"/>
              <a:gd name="T10" fmla="*/ 2147483647 w 16"/>
              <a:gd name="T11" fmla="*/ 2147483647 h 8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83"/>
              <a:gd name="T20" fmla="*/ 16 w 16"/>
              <a:gd name="T21" fmla="*/ 83 h 8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83">
                <a:moveTo>
                  <a:pt x="4" y="82"/>
                </a:moveTo>
                <a:lnTo>
                  <a:pt x="9" y="82"/>
                </a:lnTo>
                <a:lnTo>
                  <a:pt x="15" y="0"/>
                </a:lnTo>
                <a:lnTo>
                  <a:pt x="4" y="0"/>
                </a:lnTo>
                <a:lnTo>
                  <a:pt x="0" y="82"/>
                </a:lnTo>
                <a:lnTo>
                  <a:pt x="4" y="82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0" name="Freeform 24"/>
          <p:cNvSpPr>
            <a:spLocks/>
          </p:cNvSpPr>
          <p:nvPr/>
        </p:nvSpPr>
        <p:spPr bwMode="auto">
          <a:xfrm>
            <a:off x="4438650" y="3165475"/>
            <a:ext cx="77788" cy="80963"/>
          </a:xfrm>
          <a:custGeom>
            <a:avLst/>
            <a:gdLst>
              <a:gd name="T0" fmla="*/ 2147483647 w 49"/>
              <a:gd name="T1" fmla="*/ 2147483647 h 51"/>
              <a:gd name="T2" fmla="*/ 2147483647 w 49"/>
              <a:gd name="T3" fmla="*/ 2147483647 h 51"/>
              <a:gd name="T4" fmla="*/ 2147483647 w 49"/>
              <a:gd name="T5" fmla="*/ 2147483647 h 51"/>
              <a:gd name="T6" fmla="*/ 0 w 49"/>
              <a:gd name="T7" fmla="*/ 0 h 51"/>
              <a:gd name="T8" fmla="*/ 2147483647 w 49"/>
              <a:gd name="T9" fmla="*/ 2147483647 h 51"/>
              <a:gd name="T10" fmla="*/ 2147483647 w 49"/>
              <a:gd name="T11" fmla="*/ 2147483647 h 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"/>
              <a:gd name="T19" fmla="*/ 0 h 51"/>
              <a:gd name="T20" fmla="*/ 49 w 49"/>
              <a:gd name="T21" fmla="*/ 51 h 5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" h="51">
                <a:moveTo>
                  <a:pt x="21" y="50"/>
                </a:moveTo>
                <a:lnTo>
                  <a:pt x="48" y="2"/>
                </a:lnTo>
                <a:lnTo>
                  <a:pt x="21" y="50"/>
                </a:lnTo>
                <a:lnTo>
                  <a:pt x="0" y="0"/>
                </a:lnTo>
                <a:lnTo>
                  <a:pt x="48" y="2"/>
                </a:lnTo>
                <a:lnTo>
                  <a:pt x="21" y="5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1" name="Freeform 25"/>
          <p:cNvSpPr>
            <a:spLocks/>
          </p:cNvSpPr>
          <p:nvPr/>
        </p:nvSpPr>
        <p:spPr bwMode="auto">
          <a:xfrm>
            <a:off x="5059363" y="3022600"/>
            <a:ext cx="23812" cy="134938"/>
          </a:xfrm>
          <a:custGeom>
            <a:avLst/>
            <a:gdLst>
              <a:gd name="T0" fmla="*/ 2147483647 w 15"/>
              <a:gd name="T1" fmla="*/ 2147483647 h 84"/>
              <a:gd name="T2" fmla="*/ 2147483647 w 15"/>
              <a:gd name="T3" fmla="*/ 2147483647 h 84"/>
              <a:gd name="T4" fmla="*/ 2147483647 w 15"/>
              <a:gd name="T5" fmla="*/ 0 h 84"/>
              <a:gd name="T6" fmla="*/ 2147483647 w 15"/>
              <a:gd name="T7" fmla="*/ 0 h 84"/>
              <a:gd name="T8" fmla="*/ 0 w 15"/>
              <a:gd name="T9" fmla="*/ 2147483647 h 84"/>
              <a:gd name="T10" fmla="*/ 2147483647 w 15"/>
              <a:gd name="T11" fmla="*/ 2147483647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84"/>
              <a:gd name="T20" fmla="*/ 15 w 15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84">
                <a:moveTo>
                  <a:pt x="5" y="83"/>
                </a:moveTo>
                <a:lnTo>
                  <a:pt x="9" y="83"/>
                </a:lnTo>
                <a:lnTo>
                  <a:pt x="14" y="0"/>
                </a:lnTo>
                <a:lnTo>
                  <a:pt x="5" y="0"/>
                </a:lnTo>
                <a:lnTo>
                  <a:pt x="0" y="83"/>
                </a:lnTo>
                <a:lnTo>
                  <a:pt x="5" y="83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2" name="Freeform 26"/>
          <p:cNvSpPr>
            <a:spLocks/>
          </p:cNvSpPr>
          <p:nvPr/>
        </p:nvSpPr>
        <p:spPr bwMode="auto">
          <a:xfrm>
            <a:off x="5024438" y="3155950"/>
            <a:ext cx="76200" cy="80963"/>
          </a:xfrm>
          <a:custGeom>
            <a:avLst/>
            <a:gdLst>
              <a:gd name="T0" fmla="*/ 2147483647 w 48"/>
              <a:gd name="T1" fmla="*/ 2147483647 h 51"/>
              <a:gd name="T2" fmla="*/ 2147483647 w 48"/>
              <a:gd name="T3" fmla="*/ 2147483647 h 51"/>
              <a:gd name="T4" fmla="*/ 2147483647 w 48"/>
              <a:gd name="T5" fmla="*/ 2147483647 h 51"/>
              <a:gd name="T6" fmla="*/ 0 w 48"/>
              <a:gd name="T7" fmla="*/ 0 h 51"/>
              <a:gd name="T8" fmla="*/ 2147483647 w 48"/>
              <a:gd name="T9" fmla="*/ 2147483647 h 51"/>
              <a:gd name="T10" fmla="*/ 2147483647 w 48"/>
              <a:gd name="T11" fmla="*/ 2147483647 h 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8"/>
              <a:gd name="T19" fmla="*/ 0 h 51"/>
              <a:gd name="T20" fmla="*/ 48 w 48"/>
              <a:gd name="T21" fmla="*/ 51 h 5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8" h="51">
                <a:moveTo>
                  <a:pt x="21" y="50"/>
                </a:moveTo>
                <a:lnTo>
                  <a:pt x="47" y="3"/>
                </a:lnTo>
                <a:lnTo>
                  <a:pt x="21" y="50"/>
                </a:lnTo>
                <a:lnTo>
                  <a:pt x="0" y="0"/>
                </a:lnTo>
                <a:lnTo>
                  <a:pt x="47" y="3"/>
                </a:lnTo>
                <a:lnTo>
                  <a:pt x="21" y="5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3" name="Freeform 27"/>
          <p:cNvSpPr>
            <a:spLocks/>
          </p:cNvSpPr>
          <p:nvPr/>
        </p:nvSpPr>
        <p:spPr bwMode="auto">
          <a:xfrm>
            <a:off x="4865688" y="3341688"/>
            <a:ext cx="25400" cy="133350"/>
          </a:xfrm>
          <a:custGeom>
            <a:avLst/>
            <a:gdLst>
              <a:gd name="T0" fmla="*/ 2147483647 w 15"/>
              <a:gd name="T1" fmla="*/ 2147483647 h 84"/>
              <a:gd name="T2" fmla="*/ 2147483647 w 15"/>
              <a:gd name="T3" fmla="*/ 2147483647 h 84"/>
              <a:gd name="T4" fmla="*/ 2147483647 w 15"/>
              <a:gd name="T5" fmla="*/ 0 h 84"/>
              <a:gd name="T6" fmla="*/ 2147483647 w 15"/>
              <a:gd name="T7" fmla="*/ 0 h 84"/>
              <a:gd name="T8" fmla="*/ 0 w 15"/>
              <a:gd name="T9" fmla="*/ 2147483647 h 84"/>
              <a:gd name="T10" fmla="*/ 2147483647 w 15"/>
              <a:gd name="T11" fmla="*/ 2147483647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84"/>
              <a:gd name="T20" fmla="*/ 15 w 15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84">
                <a:moveTo>
                  <a:pt x="4" y="83"/>
                </a:moveTo>
                <a:lnTo>
                  <a:pt x="8" y="83"/>
                </a:lnTo>
                <a:lnTo>
                  <a:pt x="14" y="0"/>
                </a:lnTo>
                <a:lnTo>
                  <a:pt x="4" y="0"/>
                </a:lnTo>
                <a:lnTo>
                  <a:pt x="0" y="83"/>
                </a:lnTo>
                <a:lnTo>
                  <a:pt x="4" y="83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4" name="Freeform 28"/>
          <p:cNvSpPr>
            <a:spLocks/>
          </p:cNvSpPr>
          <p:nvPr/>
        </p:nvSpPr>
        <p:spPr bwMode="auto">
          <a:xfrm>
            <a:off x="4832350" y="3475038"/>
            <a:ext cx="77788" cy="82550"/>
          </a:xfrm>
          <a:custGeom>
            <a:avLst/>
            <a:gdLst>
              <a:gd name="T0" fmla="*/ 2147483647 w 49"/>
              <a:gd name="T1" fmla="*/ 2147483647 h 52"/>
              <a:gd name="T2" fmla="*/ 2147483647 w 49"/>
              <a:gd name="T3" fmla="*/ 2147483647 h 52"/>
              <a:gd name="T4" fmla="*/ 2147483647 w 49"/>
              <a:gd name="T5" fmla="*/ 2147483647 h 52"/>
              <a:gd name="T6" fmla="*/ 0 w 49"/>
              <a:gd name="T7" fmla="*/ 0 h 52"/>
              <a:gd name="T8" fmla="*/ 2147483647 w 49"/>
              <a:gd name="T9" fmla="*/ 2147483647 h 52"/>
              <a:gd name="T10" fmla="*/ 2147483647 w 49"/>
              <a:gd name="T11" fmla="*/ 2147483647 h 5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"/>
              <a:gd name="T19" fmla="*/ 0 h 52"/>
              <a:gd name="T20" fmla="*/ 49 w 49"/>
              <a:gd name="T21" fmla="*/ 52 h 5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" h="52">
                <a:moveTo>
                  <a:pt x="21" y="51"/>
                </a:moveTo>
                <a:lnTo>
                  <a:pt x="48" y="2"/>
                </a:lnTo>
                <a:lnTo>
                  <a:pt x="21" y="51"/>
                </a:lnTo>
                <a:lnTo>
                  <a:pt x="0" y="0"/>
                </a:lnTo>
                <a:lnTo>
                  <a:pt x="48" y="2"/>
                </a:lnTo>
                <a:lnTo>
                  <a:pt x="21" y="51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5" name="Freeform 29"/>
          <p:cNvSpPr>
            <a:spLocks/>
          </p:cNvSpPr>
          <p:nvPr/>
        </p:nvSpPr>
        <p:spPr bwMode="auto">
          <a:xfrm>
            <a:off x="4662488" y="3348038"/>
            <a:ext cx="25400" cy="131762"/>
          </a:xfrm>
          <a:custGeom>
            <a:avLst/>
            <a:gdLst>
              <a:gd name="T0" fmla="*/ 2147483647 w 16"/>
              <a:gd name="T1" fmla="*/ 2147483647 h 84"/>
              <a:gd name="T2" fmla="*/ 2147483647 w 16"/>
              <a:gd name="T3" fmla="*/ 2147483647 h 84"/>
              <a:gd name="T4" fmla="*/ 2147483647 w 16"/>
              <a:gd name="T5" fmla="*/ 0 h 84"/>
              <a:gd name="T6" fmla="*/ 0 w 16"/>
              <a:gd name="T7" fmla="*/ 0 h 84"/>
              <a:gd name="T8" fmla="*/ 0 w 16"/>
              <a:gd name="T9" fmla="*/ 2147483647 h 84"/>
              <a:gd name="T10" fmla="*/ 2147483647 w 16"/>
              <a:gd name="T11" fmla="*/ 2147483647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84"/>
              <a:gd name="T20" fmla="*/ 16 w 16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84">
                <a:moveTo>
                  <a:pt x="8" y="83"/>
                </a:moveTo>
                <a:lnTo>
                  <a:pt x="15" y="83"/>
                </a:lnTo>
                <a:lnTo>
                  <a:pt x="15" y="0"/>
                </a:lnTo>
                <a:lnTo>
                  <a:pt x="0" y="0"/>
                </a:lnTo>
                <a:lnTo>
                  <a:pt x="0" y="83"/>
                </a:lnTo>
                <a:lnTo>
                  <a:pt x="8" y="83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6" name="Freeform 30"/>
          <p:cNvSpPr>
            <a:spLocks/>
          </p:cNvSpPr>
          <p:nvPr/>
        </p:nvSpPr>
        <p:spPr bwMode="auto">
          <a:xfrm>
            <a:off x="4627563" y="3479800"/>
            <a:ext cx="77787" cy="80963"/>
          </a:xfrm>
          <a:custGeom>
            <a:avLst/>
            <a:gdLst>
              <a:gd name="T0" fmla="*/ 2147483647 w 49"/>
              <a:gd name="T1" fmla="*/ 2147483647 h 50"/>
              <a:gd name="T2" fmla="*/ 2147483647 w 49"/>
              <a:gd name="T3" fmla="*/ 2147483647 h 50"/>
              <a:gd name="T4" fmla="*/ 2147483647 w 49"/>
              <a:gd name="T5" fmla="*/ 2147483647 h 50"/>
              <a:gd name="T6" fmla="*/ 0 w 49"/>
              <a:gd name="T7" fmla="*/ 0 h 50"/>
              <a:gd name="T8" fmla="*/ 2147483647 w 49"/>
              <a:gd name="T9" fmla="*/ 2147483647 h 50"/>
              <a:gd name="T10" fmla="*/ 2147483647 w 49"/>
              <a:gd name="T11" fmla="*/ 2147483647 h 5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"/>
              <a:gd name="T19" fmla="*/ 0 h 50"/>
              <a:gd name="T20" fmla="*/ 49 w 49"/>
              <a:gd name="T21" fmla="*/ 50 h 5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" h="50">
                <a:moveTo>
                  <a:pt x="23" y="49"/>
                </a:moveTo>
                <a:lnTo>
                  <a:pt x="48" y="1"/>
                </a:lnTo>
                <a:lnTo>
                  <a:pt x="23" y="49"/>
                </a:lnTo>
                <a:lnTo>
                  <a:pt x="0" y="0"/>
                </a:lnTo>
                <a:lnTo>
                  <a:pt x="48" y="1"/>
                </a:lnTo>
                <a:lnTo>
                  <a:pt x="23" y="49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7" name="Freeform 31"/>
          <p:cNvSpPr>
            <a:spLocks/>
          </p:cNvSpPr>
          <p:nvPr/>
        </p:nvSpPr>
        <p:spPr bwMode="auto">
          <a:xfrm>
            <a:off x="4835525" y="3779838"/>
            <a:ext cx="23813" cy="133350"/>
          </a:xfrm>
          <a:custGeom>
            <a:avLst/>
            <a:gdLst>
              <a:gd name="T0" fmla="*/ 2147483647 w 16"/>
              <a:gd name="T1" fmla="*/ 2147483647 h 83"/>
              <a:gd name="T2" fmla="*/ 2147483647 w 16"/>
              <a:gd name="T3" fmla="*/ 2147483647 h 83"/>
              <a:gd name="T4" fmla="*/ 2147483647 w 16"/>
              <a:gd name="T5" fmla="*/ 0 h 83"/>
              <a:gd name="T6" fmla="*/ 2147483647 w 16"/>
              <a:gd name="T7" fmla="*/ 0 h 83"/>
              <a:gd name="T8" fmla="*/ 0 w 16"/>
              <a:gd name="T9" fmla="*/ 2147483647 h 83"/>
              <a:gd name="T10" fmla="*/ 2147483647 w 16"/>
              <a:gd name="T11" fmla="*/ 2147483647 h 8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83"/>
              <a:gd name="T20" fmla="*/ 16 w 16"/>
              <a:gd name="T21" fmla="*/ 83 h 8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83">
                <a:moveTo>
                  <a:pt x="8" y="82"/>
                </a:moveTo>
                <a:lnTo>
                  <a:pt x="11" y="82"/>
                </a:lnTo>
                <a:lnTo>
                  <a:pt x="15" y="0"/>
                </a:lnTo>
                <a:lnTo>
                  <a:pt x="4" y="0"/>
                </a:lnTo>
                <a:lnTo>
                  <a:pt x="0" y="82"/>
                </a:lnTo>
                <a:lnTo>
                  <a:pt x="8" y="82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8" name="Freeform 32"/>
          <p:cNvSpPr>
            <a:spLocks/>
          </p:cNvSpPr>
          <p:nvPr/>
        </p:nvSpPr>
        <p:spPr bwMode="auto">
          <a:xfrm>
            <a:off x="4799013" y="3914775"/>
            <a:ext cx="79375" cy="79375"/>
          </a:xfrm>
          <a:custGeom>
            <a:avLst/>
            <a:gdLst>
              <a:gd name="T0" fmla="*/ 2147483647 w 49"/>
              <a:gd name="T1" fmla="*/ 2147483647 h 51"/>
              <a:gd name="T2" fmla="*/ 2147483647 w 49"/>
              <a:gd name="T3" fmla="*/ 0 h 51"/>
              <a:gd name="T4" fmla="*/ 2147483647 w 49"/>
              <a:gd name="T5" fmla="*/ 2147483647 h 51"/>
              <a:gd name="T6" fmla="*/ 0 w 49"/>
              <a:gd name="T7" fmla="*/ 0 h 51"/>
              <a:gd name="T8" fmla="*/ 2147483647 w 49"/>
              <a:gd name="T9" fmla="*/ 0 h 51"/>
              <a:gd name="T10" fmla="*/ 2147483647 w 49"/>
              <a:gd name="T11" fmla="*/ 2147483647 h 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"/>
              <a:gd name="T19" fmla="*/ 0 h 51"/>
              <a:gd name="T20" fmla="*/ 49 w 49"/>
              <a:gd name="T21" fmla="*/ 51 h 5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" h="51">
                <a:moveTo>
                  <a:pt x="23" y="50"/>
                </a:moveTo>
                <a:lnTo>
                  <a:pt x="48" y="0"/>
                </a:lnTo>
                <a:lnTo>
                  <a:pt x="23" y="50"/>
                </a:lnTo>
                <a:lnTo>
                  <a:pt x="0" y="0"/>
                </a:lnTo>
                <a:lnTo>
                  <a:pt x="48" y="0"/>
                </a:lnTo>
                <a:lnTo>
                  <a:pt x="23" y="5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49" name="Freeform 33"/>
          <p:cNvSpPr>
            <a:spLocks/>
          </p:cNvSpPr>
          <p:nvPr/>
        </p:nvSpPr>
        <p:spPr bwMode="auto">
          <a:xfrm>
            <a:off x="4672013" y="3778250"/>
            <a:ext cx="25400" cy="133350"/>
          </a:xfrm>
          <a:custGeom>
            <a:avLst/>
            <a:gdLst>
              <a:gd name="T0" fmla="*/ 2147483647 w 16"/>
              <a:gd name="T1" fmla="*/ 2147483647 h 84"/>
              <a:gd name="T2" fmla="*/ 2147483647 w 16"/>
              <a:gd name="T3" fmla="*/ 2147483647 h 84"/>
              <a:gd name="T4" fmla="*/ 2147483647 w 16"/>
              <a:gd name="T5" fmla="*/ 0 h 84"/>
              <a:gd name="T6" fmla="*/ 2147483647 w 16"/>
              <a:gd name="T7" fmla="*/ 0 h 84"/>
              <a:gd name="T8" fmla="*/ 0 w 16"/>
              <a:gd name="T9" fmla="*/ 2147483647 h 84"/>
              <a:gd name="T10" fmla="*/ 2147483647 w 16"/>
              <a:gd name="T11" fmla="*/ 2147483647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84"/>
              <a:gd name="T20" fmla="*/ 16 w 16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84">
                <a:moveTo>
                  <a:pt x="8" y="83"/>
                </a:moveTo>
                <a:lnTo>
                  <a:pt x="15" y="83"/>
                </a:lnTo>
                <a:lnTo>
                  <a:pt x="15" y="0"/>
                </a:lnTo>
                <a:lnTo>
                  <a:pt x="4" y="0"/>
                </a:lnTo>
                <a:lnTo>
                  <a:pt x="0" y="83"/>
                </a:lnTo>
                <a:lnTo>
                  <a:pt x="8" y="83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0" name="Freeform 34"/>
          <p:cNvSpPr>
            <a:spLocks/>
          </p:cNvSpPr>
          <p:nvPr/>
        </p:nvSpPr>
        <p:spPr bwMode="auto">
          <a:xfrm>
            <a:off x="4637088" y="3911600"/>
            <a:ext cx="79375" cy="79375"/>
          </a:xfrm>
          <a:custGeom>
            <a:avLst/>
            <a:gdLst>
              <a:gd name="T0" fmla="*/ 2147483647 w 49"/>
              <a:gd name="T1" fmla="*/ 2147483647 h 50"/>
              <a:gd name="T2" fmla="*/ 2147483647 w 49"/>
              <a:gd name="T3" fmla="*/ 2147483647 h 50"/>
              <a:gd name="T4" fmla="*/ 2147483647 w 49"/>
              <a:gd name="T5" fmla="*/ 2147483647 h 50"/>
              <a:gd name="T6" fmla="*/ 0 w 49"/>
              <a:gd name="T7" fmla="*/ 0 h 50"/>
              <a:gd name="T8" fmla="*/ 2147483647 w 49"/>
              <a:gd name="T9" fmla="*/ 2147483647 h 50"/>
              <a:gd name="T10" fmla="*/ 2147483647 w 49"/>
              <a:gd name="T11" fmla="*/ 2147483647 h 5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"/>
              <a:gd name="T19" fmla="*/ 0 h 50"/>
              <a:gd name="T20" fmla="*/ 49 w 49"/>
              <a:gd name="T21" fmla="*/ 50 h 5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" h="50">
                <a:moveTo>
                  <a:pt x="24" y="49"/>
                </a:moveTo>
                <a:lnTo>
                  <a:pt x="48" y="1"/>
                </a:lnTo>
                <a:lnTo>
                  <a:pt x="24" y="49"/>
                </a:lnTo>
                <a:lnTo>
                  <a:pt x="0" y="0"/>
                </a:lnTo>
                <a:lnTo>
                  <a:pt x="48" y="1"/>
                </a:lnTo>
                <a:lnTo>
                  <a:pt x="24" y="49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1" name="Freeform 35"/>
          <p:cNvSpPr>
            <a:spLocks/>
          </p:cNvSpPr>
          <p:nvPr/>
        </p:nvSpPr>
        <p:spPr bwMode="auto">
          <a:xfrm>
            <a:off x="4821238" y="4194175"/>
            <a:ext cx="25400" cy="134938"/>
          </a:xfrm>
          <a:custGeom>
            <a:avLst/>
            <a:gdLst>
              <a:gd name="T0" fmla="*/ 2147483647 w 16"/>
              <a:gd name="T1" fmla="*/ 2147483647 h 84"/>
              <a:gd name="T2" fmla="*/ 2147483647 w 16"/>
              <a:gd name="T3" fmla="*/ 2147483647 h 84"/>
              <a:gd name="T4" fmla="*/ 2147483647 w 16"/>
              <a:gd name="T5" fmla="*/ 0 h 84"/>
              <a:gd name="T6" fmla="*/ 2147483647 w 16"/>
              <a:gd name="T7" fmla="*/ 0 h 84"/>
              <a:gd name="T8" fmla="*/ 0 w 16"/>
              <a:gd name="T9" fmla="*/ 2147483647 h 84"/>
              <a:gd name="T10" fmla="*/ 2147483647 w 16"/>
              <a:gd name="T11" fmla="*/ 2147483647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6"/>
              <a:gd name="T19" fmla="*/ 0 h 84"/>
              <a:gd name="T20" fmla="*/ 16 w 16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6" h="84">
                <a:moveTo>
                  <a:pt x="5" y="83"/>
                </a:moveTo>
                <a:lnTo>
                  <a:pt x="11" y="83"/>
                </a:lnTo>
                <a:lnTo>
                  <a:pt x="15" y="0"/>
                </a:lnTo>
                <a:lnTo>
                  <a:pt x="2" y="0"/>
                </a:lnTo>
                <a:lnTo>
                  <a:pt x="0" y="83"/>
                </a:lnTo>
                <a:lnTo>
                  <a:pt x="5" y="83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2" name="Freeform 36"/>
          <p:cNvSpPr>
            <a:spLocks/>
          </p:cNvSpPr>
          <p:nvPr/>
        </p:nvSpPr>
        <p:spPr bwMode="auto">
          <a:xfrm>
            <a:off x="4784725" y="4329113"/>
            <a:ext cx="79375" cy="79375"/>
          </a:xfrm>
          <a:custGeom>
            <a:avLst/>
            <a:gdLst>
              <a:gd name="T0" fmla="*/ 2147483647 w 50"/>
              <a:gd name="T1" fmla="*/ 2147483647 h 50"/>
              <a:gd name="T2" fmla="*/ 2147483647 w 50"/>
              <a:gd name="T3" fmla="*/ 2147483647 h 50"/>
              <a:gd name="T4" fmla="*/ 2147483647 w 50"/>
              <a:gd name="T5" fmla="*/ 2147483647 h 50"/>
              <a:gd name="T6" fmla="*/ 0 w 50"/>
              <a:gd name="T7" fmla="*/ 0 h 50"/>
              <a:gd name="T8" fmla="*/ 2147483647 w 50"/>
              <a:gd name="T9" fmla="*/ 2147483647 h 50"/>
              <a:gd name="T10" fmla="*/ 2147483647 w 50"/>
              <a:gd name="T11" fmla="*/ 2147483647 h 5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0"/>
              <a:gd name="T19" fmla="*/ 0 h 50"/>
              <a:gd name="T20" fmla="*/ 50 w 50"/>
              <a:gd name="T21" fmla="*/ 50 h 5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0" h="50">
                <a:moveTo>
                  <a:pt x="25" y="49"/>
                </a:moveTo>
                <a:lnTo>
                  <a:pt x="49" y="1"/>
                </a:lnTo>
                <a:lnTo>
                  <a:pt x="25" y="49"/>
                </a:lnTo>
                <a:lnTo>
                  <a:pt x="0" y="0"/>
                </a:lnTo>
                <a:lnTo>
                  <a:pt x="49" y="1"/>
                </a:lnTo>
                <a:lnTo>
                  <a:pt x="25" y="49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3" name="Freeform 37"/>
          <p:cNvSpPr>
            <a:spLocks/>
          </p:cNvSpPr>
          <p:nvPr/>
        </p:nvSpPr>
        <p:spPr bwMode="auto">
          <a:xfrm>
            <a:off x="4694238" y="4205288"/>
            <a:ext cx="25400" cy="131762"/>
          </a:xfrm>
          <a:custGeom>
            <a:avLst/>
            <a:gdLst>
              <a:gd name="T0" fmla="*/ 2147483647 w 15"/>
              <a:gd name="T1" fmla="*/ 2147483647 h 84"/>
              <a:gd name="T2" fmla="*/ 2147483647 w 15"/>
              <a:gd name="T3" fmla="*/ 2147483647 h 84"/>
              <a:gd name="T4" fmla="*/ 2147483647 w 15"/>
              <a:gd name="T5" fmla="*/ 0 h 84"/>
              <a:gd name="T6" fmla="*/ 0 w 15"/>
              <a:gd name="T7" fmla="*/ 0 h 84"/>
              <a:gd name="T8" fmla="*/ 2147483647 w 15"/>
              <a:gd name="T9" fmla="*/ 2147483647 h 84"/>
              <a:gd name="T10" fmla="*/ 2147483647 w 15"/>
              <a:gd name="T11" fmla="*/ 2147483647 h 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84"/>
              <a:gd name="T20" fmla="*/ 15 w 15"/>
              <a:gd name="T21" fmla="*/ 84 h 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84">
                <a:moveTo>
                  <a:pt x="8" y="83"/>
                </a:moveTo>
                <a:lnTo>
                  <a:pt x="14" y="83"/>
                </a:lnTo>
                <a:lnTo>
                  <a:pt x="8" y="0"/>
                </a:lnTo>
                <a:lnTo>
                  <a:pt x="0" y="0"/>
                </a:lnTo>
                <a:lnTo>
                  <a:pt x="4" y="83"/>
                </a:lnTo>
                <a:lnTo>
                  <a:pt x="8" y="83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4" name="Freeform 38"/>
          <p:cNvSpPr>
            <a:spLocks/>
          </p:cNvSpPr>
          <p:nvPr/>
        </p:nvSpPr>
        <p:spPr bwMode="auto">
          <a:xfrm>
            <a:off x="4662488" y="4337050"/>
            <a:ext cx="77787" cy="80963"/>
          </a:xfrm>
          <a:custGeom>
            <a:avLst/>
            <a:gdLst>
              <a:gd name="T0" fmla="*/ 2147483647 w 49"/>
              <a:gd name="T1" fmla="*/ 2147483647 h 51"/>
              <a:gd name="T2" fmla="*/ 2147483647 w 49"/>
              <a:gd name="T3" fmla="*/ 0 h 51"/>
              <a:gd name="T4" fmla="*/ 2147483647 w 49"/>
              <a:gd name="T5" fmla="*/ 2147483647 h 51"/>
              <a:gd name="T6" fmla="*/ 0 w 49"/>
              <a:gd name="T7" fmla="*/ 2147483647 h 51"/>
              <a:gd name="T8" fmla="*/ 2147483647 w 49"/>
              <a:gd name="T9" fmla="*/ 0 h 51"/>
              <a:gd name="T10" fmla="*/ 2147483647 w 49"/>
              <a:gd name="T11" fmla="*/ 2147483647 h 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"/>
              <a:gd name="T19" fmla="*/ 0 h 51"/>
              <a:gd name="T20" fmla="*/ 49 w 49"/>
              <a:gd name="T21" fmla="*/ 51 h 5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" h="51">
                <a:moveTo>
                  <a:pt x="26" y="50"/>
                </a:moveTo>
                <a:lnTo>
                  <a:pt x="48" y="0"/>
                </a:lnTo>
                <a:lnTo>
                  <a:pt x="26" y="50"/>
                </a:lnTo>
                <a:lnTo>
                  <a:pt x="0" y="2"/>
                </a:lnTo>
                <a:lnTo>
                  <a:pt x="48" y="0"/>
                </a:lnTo>
                <a:lnTo>
                  <a:pt x="26" y="50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5" name="Freeform 39"/>
          <p:cNvSpPr>
            <a:spLocks/>
          </p:cNvSpPr>
          <p:nvPr/>
        </p:nvSpPr>
        <p:spPr bwMode="auto">
          <a:xfrm>
            <a:off x="4845050" y="2941638"/>
            <a:ext cx="38100" cy="134937"/>
          </a:xfrm>
          <a:custGeom>
            <a:avLst/>
            <a:gdLst>
              <a:gd name="T0" fmla="*/ 2147483647 w 23"/>
              <a:gd name="T1" fmla="*/ 2147483647 h 85"/>
              <a:gd name="T2" fmla="*/ 2147483647 w 23"/>
              <a:gd name="T3" fmla="*/ 2147483647 h 85"/>
              <a:gd name="T4" fmla="*/ 2147483647 w 23"/>
              <a:gd name="T5" fmla="*/ 0 h 85"/>
              <a:gd name="T6" fmla="*/ 0 w 23"/>
              <a:gd name="T7" fmla="*/ 2147483647 h 85"/>
              <a:gd name="T8" fmla="*/ 2147483647 w 23"/>
              <a:gd name="T9" fmla="*/ 2147483647 h 85"/>
              <a:gd name="T10" fmla="*/ 2147483647 w 23"/>
              <a:gd name="T11" fmla="*/ 2147483647 h 8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"/>
              <a:gd name="T19" fmla="*/ 0 h 85"/>
              <a:gd name="T20" fmla="*/ 23 w 23"/>
              <a:gd name="T21" fmla="*/ 85 h 8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" h="85">
                <a:moveTo>
                  <a:pt x="18" y="83"/>
                </a:moveTo>
                <a:lnTo>
                  <a:pt x="22" y="82"/>
                </a:lnTo>
                <a:lnTo>
                  <a:pt x="8" y="0"/>
                </a:lnTo>
                <a:lnTo>
                  <a:pt x="0" y="2"/>
                </a:lnTo>
                <a:lnTo>
                  <a:pt x="15" y="84"/>
                </a:lnTo>
                <a:lnTo>
                  <a:pt x="18" y="83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6" name="Freeform 40"/>
          <p:cNvSpPr>
            <a:spLocks/>
          </p:cNvSpPr>
          <p:nvPr/>
        </p:nvSpPr>
        <p:spPr bwMode="auto">
          <a:xfrm>
            <a:off x="4840288" y="3065463"/>
            <a:ext cx="76200" cy="88900"/>
          </a:xfrm>
          <a:custGeom>
            <a:avLst/>
            <a:gdLst>
              <a:gd name="T0" fmla="*/ 2147483647 w 47"/>
              <a:gd name="T1" fmla="*/ 2147483647 h 56"/>
              <a:gd name="T2" fmla="*/ 2147483647 w 47"/>
              <a:gd name="T3" fmla="*/ 0 h 56"/>
              <a:gd name="T4" fmla="*/ 2147483647 w 47"/>
              <a:gd name="T5" fmla="*/ 2147483647 h 56"/>
              <a:gd name="T6" fmla="*/ 0 w 47"/>
              <a:gd name="T7" fmla="*/ 2147483647 h 56"/>
              <a:gd name="T8" fmla="*/ 2147483647 w 47"/>
              <a:gd name="T9" fmla="*/ 0 h 56"/>
              <a:gd name="T10" fmla="*/ 2147483647 w 47"/>
              <a:gd name="T11" fmla="*/ 2147483647 h 5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7"/>
              <a:gd name="T19" fmla="*/ 0 h 56"/>
              <a:gd name="T20" fmla="*/ 47 w 47"/>
              <a:gd name="T21" fmla="*/ 56 h 5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7" h="56">
                <a:moveTo>
                  <a:pt x="32" y="55"/>
                </a:moveTo>
                <a:lnTo>
                  <a:pt x="46" y="0"/>
                </a:lnTo>
                <a:lnTo>
                  <a:pt x="32" y="55"/>
                </a:lnTo>
                <a:lnTo>
                  <a:pt x="0" y="12"/>
                </a:lnTo>
                <a:lnTo>
                  <a:pt x="46" y="0"/>
                </a:lnTo>
                <a:lnTo>
                  <a:pt x="32" y="55"/>
                </a:lnTo>
              </a:path>
            </a:pathLst>
          </a:custGeom>
          <a:solidFill>
            <a:srgbClr val="FFFF4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7" name="Freeform 41"/>
          <p:cNvSpPr>
            <a:spLocks/>
          </p:cNvSpPr>
          <p:nvPr/>
        </p:nvSpPr>
        <p:spPr bwMode="auto">
          <a:xfrm>
            <a:off x="3905250" y="2216150"/>
            <a:ext cx="515938" cy="276225"/>
          </a:xfrm>
          <a:custGeom>
            <a:avLst/>
            <a:gdLst>
              <a:gd name="T0" fmla="*/ 2147483647 w 324"/>
              <a:gd name="T1" fmla="*/ 2147483647 h 174"/>
              <a:gd name="T2" fmla="*/ 2147483647 w 324"/>
              <a:gd name="T3" fmla="*/ 0 h 174"/>
              <a:gd name="T4" fmla="*/ 2147483647 w 324"/>
              <a:gd name="T5" fmla="*/ 2147483647 h 174"/>
              <a:gd name="T6" fmla="*/ 0 w 324"/>
              <a:gd name="T7" fmla="*/ 2147483647 h 174"/>
              <a:gd name="T8" fmla="*/ 2147483647 w 324"/>
              <a:gd name="T9" fmla="*/ 2147483647 h 1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4"/>
              <a:gd name="T16" fmla="*/ 0 h 174"/>
              <a:gd name="T17" fmla="*/ 324 w 324"/>
              <a:gd name="T18" fmla="*/ 174 h 17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4" h="174">
                <a:moveTo>
                  <a:pt x="323" y="151"/>
                </a:moveTo>
                <a:lnTo>
                  <a:pt x="30" y="0"/>
                </a:lnTo>
                <a:lnTo>
                  <a:pt x="88" y="101"/>
                </a:lnTo>
                <a:lnTo>
                  <a:pt x="0" y="173"/>
                </a:lnTo>
                <a:lnTo>
                  <a:pt x="323" y="151"/>
                </a:ln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8" name="Freeform 42"/>
          <p:cNvSpPr>
            <a:spLocks/>
          </p:cNvSpPr>
          <p:nvPr/>
        </p:nvSpPr>
        <p:spPr bwMode="auto">
          <a:xfrm>
            <a:off x="3541713" y="3159125"/>
            <a:ext cx="515937" cy="276225"/>
          </a:xfrm>
          <a:custGeom>
            <a:avLst/>
            <a:gdLst>
              <a:gd name="T0" fmla="*/ 2147483647 w 325"/>
              <a:gd name="T1" fmla="*/ 2147483647 h 174"/>
              <a:gd name="T2" fmla="*/ 2147483647 w 325"/>
              <a:gd name="T3" fmla="*/ 0 h 174"/>
              <a:gd name="T4" fmla="*/ 2147483647 w 325"/>
              <a:gd name="T5" fmla="*/ 2147483647 h 174"/>
              <a:gd name="T6" fmla="*/ 0 w 325"/>
              <a:gd name="T7" fmla="*/ 2147483647 h 174"/>
              <a:gd name="T8" fmla="*/ 2147483647 w 325"/>
              <a:gd name="T9" fmla="*/ 2147483647 h 1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5"/>
              <a:gd name="T16" fmla="*/ 0 h 174"/>
              <a:gd name="T17" fmla="*/ 325 w 325"/>
              <a:gd name="T18" fmla="*/ 174 h 17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5" h="174">
                <a:moveTo>
                  <a:pt x="324" y="151"/>
                </a:moveTo>
                <a:lnTo>
                  <a:pt x="29" y="0"/>
                </a:lnTo>
                <a:lnTo>
                  <a:pt x="88" y="101"/>
                </a:lnTo>
                <a:lnTo>
                  <a:pt x="0" y="173"/>
                </a:lnTo>
                <a:lnTo>
                  <a:pt x="324" y="151"/>
                </a:ln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59" name="Freeform 43"/>
          <p:cNvSpPr>
            <a:spLocks/>
          </p:cNvSpPr>
          <p:nvPr/>
        </p:nvSpPr>
        <p:spPr bwMode="auto">
          <a:xfrm>
            <a:off x="3829050" y="4111625"/>
            <a:ext cx="495300" cy="404813"/>
          </a:xfrm>
          <a:custGeom>
            <a:avLst/>
            <a:gdLst>
              <a:gd name="T0" fmla="*/ 2147483647 w 311"/>
              <a:gd name="T1" fmla="*/ 0 h 255"/>
              <a:gd name="T2" fmla="*/ 0 w 311"/>
              <a:gd name="T3" fmla="*/ 2147483647 h 255"/>
              <a:gd name="T4" fmla="*/ 2147483647 w 311"/>
              <a:gd name="T5" fmla="*/ 2147483647 h 255"/>
              <a:gd name="T6" fmla="*/ 2147483647 w 311"/>
              <a:gd name="T7" fmla="*/ 2147483647 h 255"/>
              <a:gd name="T8" fmla="*/ 2147483647 w 311"/>
              <a:gd name="T9" fmla="*/ 0 h 2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11"/>
              <a:gd name="T16" fmla="*/ 0 h 255"/>
              <a:gd name="T17" fmla="*/ 311 w 311"/>
              <a:gd name="T18" fmla="*/ 255 h 25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11" h="255">
                <a:moveTo>
                  <a:pt x="310" y="0"/>
                </a:moveTo>
                <a:lnTo>
                  <a:pt x="0" y="103"/>
                </a:lnTo>
                <a:lnTo>
                  <a:pt x="105" y="136"/>
                </a:lnTo>
                <a:lnTo>
                  <a:pt x="83" y="254"/>
                </a:lnTo>
                <a:lnTo>
                  <a:pt x="310" y="0"/>
                </a:ln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60" name="Freeform 44"/>
          <p:cNvSpPr>
            <a:spLocks/>
          </p:cNvSpPr>
          <p:nvPr/>
        </p:nvSpPr>
        <p:spPr bwMode="auto">
          <a:xfrm flipH="1">
            <a:off x="5272088" y="2208213"/>
            <a:ext cx="514350" cy="276225"/>
          </a:xfrm>
          <a:custGeom>
            <a:avLst/>
            <a:gdLst>
              <a:gd name="T0" fmla="*/ 2147483647 w 324"/>
              <a:gd name="T1" fmla="*/ 2147483647 h 174"/>
              <a:gd name="T2" fmla="*/ 2147483647 w 324"/>
              <a:gd name="T3" fmla="*/ 0 h 174"/>
              <a:gd name="T4" fmla="*/ 2147483647 w 324"/>
              <a:gd name="T5" fmla="*/ 2147483647 h 174"/>
              <a:gd name="T6" fmla="*/ 0 w 324"/>
              <a:gd name="T7" fmla="*/ 2147483647 h 174"/>
              <a:gd name="T8" fmla="*/ 2147483647 w 324"/>
              <a:gd name="T9" fmla="*/ 2147483647 h 1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4"/>
              <a:gd name="T16" fmla="*/ 0 h 174"/>
              <a:gd name="T17" fmla="*/ 324 w 324"/>
              <a:gd name="T18" fmla="*/ 174 h 17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4" h="174">
                <a:moveTo>
                  <a:pt x="323" y="151"/>
                </a:moveTo>
                <a:lnTo>
                  <a:pt x="30" y="0"/>
                </a:lnTo>
                <a:lnTo>
                  <a:pt x="88" y="101"/>
                </a:lnTo>
                <a:lnTo>
                  <a:pt x="0" y="173"/>
                </a:lnTo>
                <a:lnTo>
                  <a:pt x="323" y="151"/>
                </a:ln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61" name="Freeform 45"/>
          <p:cNvSpPr>
            <a:spLocks/>
          </p:cNvSpPr>
          <p:nvPr/>
        </p:nvSpPr>
        <p:spPr bwMode="auto">
          <a:xfrm flipH="1">
            <a:off x="5370513" y="3149600"/>
            <a:ext cx="515937" cy="276225"/>
          </a:xfrm>
          <a:custGeom>
            <a:avLst/>
            <a:gdLst>
              <a:gd name="T0" fmla="*/ 2147483647 w 325"/>
              <a:gd name="T1" fmla="*/ 2147483647 h 174"/>
              <a:gd name="T2" fmla="*/ 2147483647 w 325"/>
              <a:gd name="T3" fmla="*/ 0 h 174"/>
              <a:gd name="T4" fmla="*/ 2147483647 w 325"/>
              <a:gd name="T5" fmla="*/ 2147483647 h 174"/>
              <a:gd name="T6" fmla="*/ 0 w 325"/>
              <a:gd name="T7" fmla="*/ 2147483647 h 174"/>
              <a:gd name="T8" fmla="*/ 2147483647 w 325"/>
              <a:gd name="T9" fmla="*/ 2147483647 h 1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5"/>
              <a:gd name="T16" fmla="*/ 0 h 174"/>
              <a:gd name="T17" fmla="*/ 325 w 325"/>
              <a:gd name="T18" fmla="*/ 174 h 17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5" h="174">
                <a:moveTo>
                  <a:pt x="324" y="151"/>
                </a:moveTo>
                <a:lnTo>
                  <a:pt x="29" y="0"/>
                </a:lnTo>
                <a:lnTo>
                  <a:pt x="88" y="101"/>
                </a:lnTo>
                <a:lnTo>
                  <a:pt x="0" y="173"/>
                </a:lnTo>
                <a:lnTo>
                  <a:pt x="324" y="151"/>
                </a:ln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  <p:sp>
        <p:nvSpPr>
          <p:cNvPr id="521262" name="Freeform 46"/>
          <p:cNvSpPr>
            <a:spLocks/>
          </p:cNvSpPr>
          <p:nvPr/>
        </p:nvSpPr>
        <p:spPr bwMode="auto">
          <a:xfrm flipH="1">
            <a:off x="5227638" y="4121150"/>
            <a:ext cx="493712" cy="404813"/>
          </a:xfrm>
          <a:custGeom>
            <a:avLst/>
            <a:gdLst>
              <a:gd name="T0" fmla="*/ 2147483647 w 311"/>
              <a:gd name="T1" fmla="*/ 0 h 255"/>
              <a:gd name="T2" fmla="*/ 0 w 311"/>
              <a:gd name="T3" fmla="*/ 2147483647 h 255"/>
              <a:gd name="T4" fmla="*/ 2147483647 w 311"/>
              <a:gd name="T5" fmla="*/ 2147483647 h 255"/>
              <a:gd name="T6" fmla="*/ 2147483647 w 311"/>
              <a:gd name="T7" fmla="*/ 2147483647 h 255"/>
              <a:gd name="T8" fmla="*/ 2147483647 w 311"/>
              <a:gd name="T9" fmla="*/ 0 h 2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11"/>
              <a:gd name="T16" fmla="*/ 0 h 255"/>
              <a:gd name="T17" fmla="*/ 311 w 311"/>
              <a:gd name="T18" fmla="*/ 255 h 25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11" h="255">
                <a:moveTo>
                  <a:pt x="310" y="0"/>
                </a:moveTo>
                <a:lnTo>
                  <a:pt x="0" y="103"/>
                </a:lnTo>
                <a:lnTo>
                  <a:pt x="105" y="136"/>
                </a:lnTo>
                <a:lnTo>
                  <a:pt x="83" y="254"/>
                </a:lnTo>
                <a:lnTo>
                  <a:pt x="310" y="0"/>
                </a:ln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rnd">
                <a:solidFill>
                  <a:srgbClr val="000000"/>
                </a:solidFill>
                <a:round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0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899103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01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 sz="4000" i="1" smtClean="0"/>
              <a:t>Мама, как ты думаешь, что для меня опаснее?</a:t>
            </a:r>
          </a:p>
        </p:txBody>
      </p:sp>
      <p:pic>
        <p:nvPicPr>
          <p:cNvPr id="939011" name="Picture 4" descr="http://cs407729.userapi.com/v407729782/3493/Auv0PD1POac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213" y="2595563"/>
            <a:ext cx="4357687" cy="426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9446" name="Picture 6" descr="http://img1.liveinternet.ru/images/attach/b/2/24/189/24189710_komar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6563" y="2357438"/>
            <a:ext cx="2357437" cy="173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9442" name="Picture 2" descr="http://img0.liveinternet.ru/images/foto/b/3/apps/0/43/43252_afrikanskii_slo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28775"/>
            <a:ext cx="3492500" cy="261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9014" name="Text Box 6"/>
          <p:cNvSpPr txBox="1">
            <a:spLocks noChangeArrowheads="1"/>
          </p:cNvSpPr>
          <p:nvPr/>
        </p:nvSpPr>
        <p:spPr bwMode="auto">
          <a:xfrm>
            <a:off x="250825" y="4581525"/>
            <a:ext cx="31686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b="1" i="1" smtClean="0">
                <a:solidFill>
                  <a:srgbClr val="FF0000"/>
                </a:solidFill>
              </a:rPr>
              <a:t>Инфекция</a:t>
            </a:r>
          </a:p>
        </p:txBody>
      </p:sp>
      <p:sp>
        <p:nvSpPr>
          <p:cNvPr id="939015" name="Text Box 7"/>
          <p:cNvSpPr txBox="1">
            <a:spLocks noChangeArrowheads="1"/>
          </p:cNvSpPr>
          <p:nvPr/>
        </p:nvSpPr>
        <p:spPr bwMode="auto">
          <a:xfrm>
            <a:off x="6732588" y="4508500"/>
            <a:ext cx="208756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altLang="ru-RU" b="1" i="1" smtClean="0">
                <a:solidFill>
                  <a:srgbClr val="FF0000"/>
                </a:solidFill>
              </a:rPr>
              <a:t>Вакцинация</a:t>
            </a:r>
          </a:p>
        </p:txBody>
      </p:sp>
    </p:spTree>
    <p:extLst>
      <p:ext uri="{BB962C8B-B14F-4D97-AF65-F5344CB8AC3E}">
        <p14:creationId xmlns:p14="http://schemas.microsoft.com/office/powerpoint/2010/main" val="3481592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05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endParaRPr lang="ru-RU" altLang="ru-RU" smtClean="0"/>
          </a:p>
        </p:txBody>
      </p:sp>
      <p:sp>
        <p:nvSpPr>
          <p:cNvPr id="941059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ru-RU" altLang="ru-RU" smtClean="0"/>
          </a:p>
        </p:txBody>
      </p:sp>
      <p:pic>
        <p:nvPicPr>
          <p:cNvPr id="94106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881563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192088" y="601663"/>
            <a:ext cx="8710612" cy="4084637"/>
          </a:xfrm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pPr marL="0" indent="0" algn="just" eaLnBrk="1" hangingPunct="1">
              <a:lnSpc>
                <a:spcPct val="150000"/>
              </a:lnSpc>
              <a:buFontTx/>
              <a:buNone/>
            </a:pPr>
            <a:r>
              <a:rPr lang="ru-RU" altLang="ru-RU" smtClean="0">
                <a:latin typeface="Arial" pitchFamily="34" charset="0"/>
                <a:cs typeface="Arial" pitchFamily="34" charset="0"/>
              </a:rPr>
              <a:t>				</a:t>
            </a:r>
            <a:r>
              <a:rPr lang="ru-RU" altLang="ru-RU" sz="2800" smtClean="0">
                <a:latin typeface="Arial" pitchFamily="34" charset="0"/>
                <a:cs typeface="Arial" pitchFamily="34" charset="0"/>
              </a:rPr>
              <a:t>в холодное время года поражает до 15% населения земного шара. Ежегодно в мире болеет до 500 млн. человек, 2 миллиона – умирают. В России ежегодно регистрируют от 27,3 до 41,2 млн. заболевших гриппом и ОРВИ. Каждый 6-7 россиянин вовлекается в эпидемический процесс.</a:t>
            </a:r>
          </a:p>
        </p:txBody>
      </p:sp>
      <p:sp>
        <p:nvSpPr>
          <p:cNvPr id="4" name="Text Box 81"/>
          <p:cNvSpPr txBox="1">
            <a:spLocks noChangeArrowheads="1"/>
          </p:cNvSpPr>
          <p:nvPr/>
        </p:nvSpPr>
        <p:spPr bwMode="auto">
          <a:xfrm>
            <a:off x="266700" y="774700"/>
            <a:ext cx="3619500" cy="596900"/>
          </a:xfrm>
          <a:prstGeom prst="rect">
            <a:avLst/>
          </a:prstGeom>
          <a:gradFill rotWithShape="0">
            <a:gsLst>
              <a:gs pos="0">
                <a:srgbClr val="FF5050"/>
              </a:gs>
              <a:gs pos="50000">
                <a:schemeClr val="bg1"/>
              </a:gs>
              <a:gs pos="100000">
                <a:srgbClr val="FF5050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800">
                <a:solidFill>
                  <a:prstClr val="black"/>
                </a:solidFill>
                <a:latin typeface="Arial" charset="0"/>
              </a:rPr>
              <a:t>Грипп – инфекция</a:t>
            </a:r>
            <a:endParaRPr lang="ru-RU" sz="2800" b="1" i="1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52549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0" y="1133475"/>
            <a:ext cx="9144000" cy="461963"/>
          </a:xfrm>
        </p:spPr>
        <p:txBody>
          <a:bodyPr/>
          <a:lstStyle/>
          <a:p>
            <a:pPr algn="ctr">
              <a:buFontTx/>
              <a:buNone/>
            </a:pPr>
            <a:r>
              <a:rPr lang="en-US" altLang="ru-RU" sz="2400" b="1" smtClean="0"/>
              <a:t>Каждый год  гриппом заболевает 100 млн. человек</a:t>
            </a:r>
          </a:p>
        </p:txBody>
      </p:sp>
      <p:sp>
        <p:nvSpPr>
          <p:cNvPr id="18435" name="Rectangle 3"/>
          <p:cNvSpPr>
            <a:spLocks noChangeArrowheads="1"/>
          </p:cNvSpPr>
          <p:nvPr/>
        </p:nvSpPr>
        <p:spPr bwMode="auto">
          <a:xfrm>
            <a:off x="171450" y="4646613"/>
            <a:ext cx="2590800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ru-RU" sz="2000" b="1" smtClean="0">
                <a:solidFill>
                  <a:prstClr val="black"/>
                </a:solidFill>
                <a:latin typeface="Arial" pitchFamily="34" charset="0"/>
              </a:rPr>
              <a:t>Каждый десятый взрослый</a:t>
            </a:r>
            <a:endParaRPr lang="en-GB" altLang="ru-RU" sz="2000" b="1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3448050" y="4646613"/>
            <a:ext cx="2209800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ru-RU" sz="2000" b="1" smtClean="0">
                <a:solidFill>
                  <a:prstClr val="black"/>
                </a:solidFill>
                <a:latin typeface="Arial" pitchFamily="34" charset="0"/>
              </a:rPr>
              <a:t>Каждый третий ребенок</a:t>
            </a:r>
          </a:p>
        </p:txBody>
      </p:sp>
      <p:sp>
        <p:nvSpPr>
          <p:cNvPr id="18437" name="Rectangle 5"/>
          <p:cNvSpPr>
            <a:spLocks noChangeArrowheads="1"/>
          </p:cNvSpPr>
          <p:nvPr/>
        </p:nvSpPr>
        <p:spPr bwMode="auto">
          <a:xfrm>
            <a:off x="5962650" y="4646613"/>
            <a:ext cx="2971800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ru-RU" sz="2000" b="1" smtClean="0">
                <a:solidFill>
                  <a:prstClr val="black"/>
                </a:solidFill>
                <a:latin typeface="Arial" pitchFamily="34" charset="0"/>
              </a:rPr>
              <a:t>Десять смертельных случаев </a:t>
            </a:r>
            <a:br>
              <a:rPr lang="en-US" altLang="ru-RU" sz="2000" b="1" smtClean="0">
                <a:solidFill>
                  <a:prstClr val="black"/>
                </a:solidFill>
                <a:latin typeface="Arial" pitchFamily="34" charset="0"/>
              </a:rPr>
            </a:br>
            <a:r>
              <a:rPr lang="en-US" altLang="ru-RU" sz="2000" b="1" smtClean="0">
                <a:solidFill>
                  <a:prstClr val="black"/>
                </a:solidFill>
                <a:latin typeface="Arial" pitchFamily="34" charset="0"/>
              </a:rPr>
              <a:t>на 40 000 человек</a:t>
            </a:r>
            <a:endParaRPr lang="en-GB" altLang="ru-RU" sz="2000" b="1" smtClean="0">
              <a:solidFill>
                <a:prstClr val="black"/>
              </a:solidFill>
              <a:latin typeface="Arial" pitchFamily="34" charset="0"/>
            </a:endParaRPr>
          </a:p>
        </p:txBody>
      </p:sp>
      <p:pic>
        <p:nvPicPr>
          <p:cNvPr id="18438" name="Picture 6" descr="BottleMenatRis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25" y="1714500"/>
            <a:ext cx="8785225" cy="286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0279" name="Text Box 7"/>
          <p:cNvSpPr txBox="1">
            <a:spLocks noChangeArrowheads="1"/>
          </p:cNvSpPr>
          <p:nvPr/>
        </p:nvSpPr>
        <p:spPr bwMode="auto">
          <a:xfrm>
            <a:off x="0" y="0"/>
            <a:ext cx="9144000" cy="1058863"/>
          </a:xfrm>
          <a:prstGeom prst="rect">
            <a:avLst/>
          </a:prstGeom>
          <a:gradFill rotWithShape="0">
            <a:gsLst>
              <a:gs pos="0">
                <a:srgbClr val="FF0000"/>
              </a:gs>
              <a:gs pos="50000">
                <a:schemeClr val="bg1"/>
              </a:gs>
              <a:gs pos="100000">
                <a:srgbClr val="FF0000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>
                <a:solidFill>
                  <a:prstClr val="black"/>
                </a:solidFill>
                <a:latin typeface="Arial" charset="0"/>
                <a:cs typeface="Arial" charset="0"/>
              </a:rPr>
              <a:t>Заболеть </a:t>
            </a:r>
            <a:r>
              <a:rPr lang="ru-RU" sz="3600" b="1">
                <a:solidFill>
                  <a:prstClr val="black"/>
                </a:solidFill>
                <a:latin typeface="Arial" charset="0"/>
                <a:cs typeface="Arial" charset="0"/>
              </a:rPr>
              <a:t>гриппом </a:t>
            </a:r>
            <a:r>
              <a:rPr lang="en-US" sz="3600" b="1">
                <a:solidFill>
                  <a:prstClr val="black"/>
                </a:solidFill>
                <a:latin typeface="Arial" charset="0"/>
                <a:cs typeface="Arial" charset="0"/>
              </a:rPr>
              <a:t>рискует каждый</a:t>
            </a:r>
            <a:endParaRPr lang="ru-RU" sz="3600" b="1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882246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7186" name="Picture 11" descr="D:\Sutochnikova_OA\documents\Мои документы\Мои рисунки\грипп А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1071563"/>
            <a:ext cx="171450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873" name="Rectangle 9"/>
          <p:cNvSpPr>
            <a:spLocks noGrp="1"/>
          </p:cNvSpPr>
          <p:nvPr>
            <p:ph type="body" idx="4294967295"/>
          </p:nvPr>
        </p:nvSpPr>
        <p:spPr>
          <a:xfrm>
            <a:off x="0" y="642938"/>
            <a:ext cx="3714750" cy="6215062"/>
          </a:xfrm>
          <a:solidFill>
            <a:srgbClr val="FFFFFF">
              <a:alpha val="0"/>
            </a:srgbClr>
          </a:solidFill>
        </p:spPr>
        <p:txBody>
          <a:bodyPr rIns="131969" rtlCol="0">
            <a:noAutofit/>
          </a:bodyPr>
          <a:lstStyle/>
          <a:p>
            <a:pPr marL="309302" indent="353715" eaLnBrk="1" fontAlgn="auto" hangingPunct="1">
              <a:lnSpc>
                <a:spcPct val="80000"/>
              </a:lnSpc>
              <a:spcAft>
                <a:spcPts val="0"/>
              </a:spcAft>
              <a:buFontTx/>
              <a:buNone/>
              <a:defRPr/>
            </a:pPr>
            <a:r>
              <a:rPr lang="en-US" sz="2400" u="sng" dirty="0" err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Вирус</a:t>
            </a:r>
            <a:r>
              <a:rPr lang="en-US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 </a:t>
            </a:r>
            <a:r>
              <a:rPr lang="en-US" sz="2400" u="sng" dirty="0" err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гриппа</a:t>
            </a:r>
            <a:r>
              <a:rPr lang="en-US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 А</a:t>
            </a:r>
            <a:endParaRPr lang="ru-RU" sz="2400" u="sng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Black" pitchFamily="34" charset="0"/>
              <a:sym typeface="Arial Bold" charset="0"/>
            </a:endParaRPr>
          </a:p>
          <a:p>
            <a:pPr marL="309302" indent="353715" eaLnBrk="1" fontAlgn="auto" hangingPunct="1">
              <a:spcBef>
                <a:spcPts val="400"/>
              </a:spcBef>
              <a:spcAft>
                <a:spcPts val="0"/>
              </a:spcAft>
              <a:buFontTx/>
              <a:buNone/>
              <a:defRPr/>
            </a:pPr>
            <a:endParaRPr lang="ru-RU" sz="2400" u="sng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Black" pitchFamily="34" charset="0"/>
              <a:sym typeface="Arial Bold" charset="0"/>
            </a:endParaRPr>
          </a:p>
          <a:p>
            <a:pPr marL="309302" indent="353715" eaLnBrk="1" fontAlgn="auto" hangingPunct="1">
              <a:spcBef>
                <a:spcPts val="400"/>
              </a:spcBef>
              <a:spcAft>
                <a:spcPts val="0"/>
              </a:spcAft>
              <a:buFontTx/>
              <a:buNone/>
              <a:defRPr/>
            </a:pPr>
            <a:endParaRPr lang="ru-RU" sz="2400" u="sng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Black" pitchFamily="34" charset="0"/>
              <a:sym typeface="Arial Bold" charset="0"/>
            </a:endParaRPr>
          </a:p>
          <a:p>
            <a:pPr marL="309302" indent="353715" eaLnBrk="1" fontAlgn="auto" hangingPunct="1">
              <a:spcBef>
                <a:spcPts val="400"/>
              </a:spcBef>
              <a:spcAft>
                <a:spcPts val="0"/>
              </a:spcAft>
              <a:buFontTx/>
              <a:buNone/>
              <a:defRPr/>
            </a:pPr>
            <a:endParaRPr lang="ru-RU" sz="2400" u="sng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Black" pitchFamily="34" charset="0"/>
              <a:sym typeface="Arial Bold" charset="0"/>
            </a:endParaRPr>
          </a:p>
          <a:p>
            <a:pPr marL="309302" indent="353715" eaLnBrk="1" fontAlgn="auto" hangingPunct="1">
              <a:spcBef>
                <a:spcPts val="400"/>
              </a:spcBef>
              <a:spcAft>
                <a:spcPts val="0"/>
              </a:spcAft>
              <a:buFontTx/>
              <a:buNone/>
              <a:defRPr/>
            </a:pPr>
            <a:endParaRPr lang="ru-RU" sz="2400" u="sng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Black" pitchFamily="34" charset="0"/>
              <a:sym typeface="Arial Bold" charset="0"/>
            </a:endParaRPr>
          </a:p>
          <a:p>
            <a:pPr marL="309302" indent="353715" eaLnBrk="1" fontAlgn="auto" hangingPunct="1">
              <a:spcBef>
                <a:spcPts val="400"/>
              </a:spcBef>
              <a:spcAft>
                <a:spcPts val="0"/>
              </a:spcAft>
              <a:buFontTx/>
              <a:buNone/>
              <a:defRPr/>
            </a:pPr>
            <a:r>
              <a:rPr lang="en-US" sz="2400" u="sng" dirty="0" err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Вирус</a:t>
            </a:r>
            <a:r>
              <a:rPr lang="en-US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 </a:t>
            </a:r>
            <a:r>
              <a:rPr lang="en-US" sz="2400" u="sng" dirty="0" err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гриппа</a:t>
            </a:r>
            <a:r>
              <a:rPr lang="en-US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 В</a:t>
            </a:r>
          </a:p>
          <a:p>
            <a:pPr marL="309302" indent="353715" eaLnBrk="1" fontAlgn="auto" hangingPunct="1">
              <a:spcAft>
                <a:spcPts val="0"/>
              </a:spcAft>
              <a:buFontTx/>
              <a:buNone/>
              <a:defRPr/>
            </a:pPr>
            <a:endParaRPr lang="ru-RU" sz="2400" u="sng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Black" pitchFamily="34" charset="0"/>
              <a:sym typeface="Arial Bold" charset="0"/>
            </a:endParaRPr>
          </a:p>
          <a:p>
            <a:pPr marL="309302" indent="353715" eaLnBrk="1" fontAlgn="auto" hangingPunct="1">
              <a:spcAft>
                <a:spcPts val="0"/>
              </a:spcAft>
              <a:buFontTx/>
              <a:buNone/>
              <a:defRPr/>
            </a:pPr>
            <a:endParaRPr lang="ru-RU" sz="2400" u="sng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Black" pitchFamily="34" charset="0"/>
              <a:sym typeface="Arial Bold" charset="0"/>
            </a:endParaRPr>
          </a:p>
          <a:p>
            <a:pPr marL="309302" indent="353715" eaLnBrk="1" fontAlgn="auto" hangingPunct="1">
              <a:spcAft>
                <a:spcPts val="0"/>
              </a:spcAft>
              <a:buFontTx/>
              <a:buNone/>
              <a:defRPr/>
            </a:pPr>
            <a:endParaRPr lang="ru-RU" sz="2400" u="sng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Black" pitchFamily="34" charset="0"/>
              <a:sym typeface="Arial Bold" charset="0"/>
            </a:endParaRPr>
          </a:p>
          <a:p>
            <a:pPr marL="309302" indent="353715" eaLnBrk="1" fontAlgn="auto" hangingPunct="1">
              <a:spcAft>
                <a:spcPts val="0"/>
              </a:spcAft>
              <a:buFontTx/>
              <a:buNone/>
              <a:defRPr/>
            </a:pPr>
            <a:endParaRPr lang="ru-RU" sz="2400" u="sng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Black" pitchFamily="34" charset="0"/>
              <a:sym typeface="Arial Bold" charset="0"/>
            </a:endParaRPr>
          </a:p>
          <a:p>
            <a:pPr marL="309302" indent="353715" eaLnBrk="1" fontAlgn="auto" hangingPunct="1">
              <a:spcAft>
                <a:spcPts val="0"/>
              </a:spcAft>
              <a:buFontTx/>
              <a:buNone/>
              <a:defRPr/>
            </a:pPr>
            <a:r>
              <a:rPr lang="en-US" sz="2400" u="sng" dirty="0" err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Вирус</a:t>
            </a:r>
            <a:r>
              <a:rPr lang="en-US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 </a:t>
            </a:r>
            <a:r>
              <a:rPr lang="en-US" sz="2400" u="sng" dirty="0" err="1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гриппа</a:t>
            </a:r>
            <a:r>
              <a:rPr lang="en-US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sym typeface="Arial Bold" charset="0"/>
              </a:rPr>
              <a:t> С</a:t>
            </a:r>
          </a:p>
        </p:txBody>
      </p:sp>
      <p:sp>
        <p:nvSpPr>
          <p:cNvPr id="164875" name="Rectangle 11"/>
          <p:cNvSpPr>
            <a:spLocks/>
          </p:cNvSpPr>
          <p:nvPr/>
        </p:nvSpPr>
        <p:spPr bwMode="auto">
          <a:xfrm>
            <a:off x="0" y="142875"/>
            <a:ext cx="9144000" cy="428625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40606" bIns="0"/>
          <a:lstStyle/>
          <a:p>
            <a:pPr marL="39654" algn="ctr" fontAlgn="base">
              <a:spcBef>
                <a:spcPts val="1849"/>
              </a:spcBef>
              <a:spcAft>
                <a:spcPct val="0"/>
              </a:spcAft>
              <a:defRPr/>
            </a:pPr>
            <a:r>
              <a:rPr lang="en-US" sz="3200" dirty="0">
                <a:solidFill>
                  <a:srgbClr val="DAEDEF">
                    <a:lumMod val="50000"/>
                  </a:srgbClr>
                </a:solidFill>
                <a:latin typeface="Arial Black" pitchFamily="34" charset="0"/>
                <a:sym typeface="Arial Bold" charset="0"/>
              </a:rPr>
              <a:t>ТИПЫ ВИРУСА ГРИППА</a:t>
            </a:r>
          </a:p>
        </p:txBody>
      </p:sp>
      <p:pic>
        <p:nvPicPr>
          <p:cNvPr id="477189" name="Picture 6" descr="D:\Sutochnikova_OA\documents\Мои документы\Мои рисунки\gripp 3.gif"/>
          <p:cNvPicPr>
            <a:picLocks noChangeAspect="1" noChangeArrowheads="1"/>
          </p:cNvPicPr>
          <p:nvPr/>
        </p:nvPicPr>
        <p:blipFill>
          <a:blip r:embed="rId3">
            <a:lum brigh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25" y="5286375"/>
            <a:ext cx="2214563" cy="1319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7190" name="Picture 7" descr="D:\Sutochnikova_OA\documents\Мои документы\Мои рисунки\грипп В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161616"/>
              </a:clrFrom>
              <a:clrTo>
                <a:srgbClr val="16161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5388" y="3071813"/>
            <a:ext cx="1798637" cy="164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7191" name="Прямоугольник 8"/>
          <p:cNvSpPr>
            <a:spLocks noChangeArrowheads="1"/>
          </p:cNvSpPr>
          <p:nvPr/>
        </p:nvSpPr>
        <p:spPr bwMode="auto">
          <a:xfrm>
            <a:off x="3286125" y="1285875"/>
            <a:ext cx="5857875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/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70000"/>
              <a:buFontTx/>
              <a:buBlip>
                <a:blip r:embed="rId5"/>
              </a:buBlip>
            </a:pP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Поражает человека и животных</a:t>
            </a: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.</a:t>
            </a:r>
            <a:endParaRPr lang="en-US" altLang="ru-RU" sz="1400" i="1" smtClean="0">
              <a:solidFill>
                <a:srgbClr val="000000"/>
              </a:solidFill>
              <a:latin typeface="Arial Black" pitchFamily="34" charset="0"/>
              <a:sym typeface="Arial Bold"/>
            </a:endParaRP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70000"/>
              <a:buFontTx/>
              <a:buBlip>
                <a:blip r:embed="rId5"/>
              </a:buBlip>
            </a:pP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Высокая а</a:t>
            </a: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нтигенная изменчивость</a:t>
            </a: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.</a:t>
            </a: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70000"/>
              <a:buFontTx/>
              <a:buBlip>
                <a:blip r:embed="rId5"/>
              </a:buBlip>
            </a:pP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Вызывает</a:t>
            </a: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 пандемические вспышки, </a:t>
            </a: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  </a:t>
            </a: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70000"/>
            </a:pP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ежегодные</a:t>
            </a: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 </a:t>
            </a: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 э</a:t>
            </a: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пидемии. </a:t>
            </a:r>
          </a:p>
        </p:txBody>
      </p:sp>
      <p:sp>
        <p:nvSpPr>
          <p:cNvPr id="477192" name="Прямоугольник 9"/>
          <p:cNvSpPr>
            <a:spLocks noChangeArrowheads="1"/>
          </p:cNvSpPr>
          <p:nvPr/>
        </p:nvSpPr>
        <p:spPr bwMode="auto">
          <a:xfrm>
            <a:off x="3214688" y="3000375"/>
            <a:ext cx="5929312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/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65000"/>
              <a:buFontTx/>
              <a:buBlip>
                <a:blip r:embed="rId5"/>
              </a:buBlip>
            </a:pP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Циркулиру</a:t>
            </a: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е</a:t>
            </a: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т только в человеческой </a:t>
            </a:r>
            <a:endParaRPr lang="ru-RU" altLang="ru-RU" sz="1400" i="1" smtClean="0">
              <a:solidFill>
                <a:srgbClr val="000000"/>
              </a:solidFill>
              <a:latin typeface="Arial Black" pitchFamily="34" charset="0"/>
              <a:sym typeface="Arial Bold"/>
            </a:endParaRP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65000"/>
            </a:pP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популяции.</a:t>
            </a: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65000"/>
              <a:buFontTx/>
              <a:buBlip>
                <a:blip r:embed="rId5"/>
              </a:buBlip>
            </a:pP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Невысокая</a:t>
            </a: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 антигенная изменчивость. </a:t>
            </a: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65000"/>
              <a:buFontTx/>
              <a:buBlip>
                <a:blip r:embed="rId5"/>
              </a:buBlip>
            </a:pP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Вызывает </a:t>
            </a:r>
            <a:r>
              <a:rPr lang="en-US" altLang="ru-RU" sz="1400" i="1" smtClean="0">
                <a:solidFill>
                  <a:srgbClr val="FF0000"/>
                </a:solidFill>
                <a:latin typeface="Arial Black" pitchFamily="34" charset="0"/>
                <a:sym typeface="Arial Bold"/>
              </a:rPr>
              <a:t> </a:t>
            </a: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ежегодную  </a:t>
            </a: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65000"/>
            </a:pP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заболеваемость,  </a:t>
            </a: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65000"/>
            </a:pP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а каждые  3-5 лет  - </a:t>
            </a: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эпидемии</a:t>
            </a:r>
            <a:r>
              <a:rPr lang="en-US" altLang="ru-RU" sz="1400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.</a:t>
            </a:r>
          </a:p>
        </p:txBody>
      </p:sp>
      <p:sp>
        <p:nvSpPr>
          <p:cNvPr id="477193" name="Прямоугольник 10"/>
          <p:cNvSpPr>
            <a:spLocks noChangeArrowheads="1"/>
          </p:cNvSpPr>
          <p:nvPr/>
        </p:nvSpPr>
        <p:spPr bwMode="auto">
          <a:xfrm>
            <a:off x="3214688" y="5286375"/>
            <a:ext cx="5929312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>
            <a:spAutoFit/>
          </a:bodyPr>
          <a:lstStyle/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70000"/>
              <a:buFontTx/>
              <a:buBlip>
                <a:blip r:embed="rId5"/>
              </a:buBlip>
            </a:pP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Инфицирует только человека</a:t>
            </a: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.</a:t>
            </a:r>
            <a:endParaRPr lang="en-US" altLang="ru-RU" sz="1400" i="1" smtClean="0">
              <a:solidFill>
                <a:srgbClr val="000000"/>
              </a:solidFill>
              <a:latin typeface="Arial Black" pitchFamily="34" charset="0"/>
              <a:sym typeface="Arial Bold"/>
            </a:endParaRP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70000"/>
              <a:buFontTx/>
              <a:buBlip>
                <a:blip r:embed="rId5"/>
              </a:buBlip>
            </a:pP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Слабая антигенная изменчивость</a:t>
            </a: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.</a:t>
            </a:r>
            <a:endParaRPr lang="en-US" altLang="ru-RU" sz="1400" i="1" smtClean="0">
              <a:solidFill>
                <a:srgbClr val="000000"/>
              </a:solidFill>
              <a:latin typeface="Arial Black" pitchFamily="34" charset="0"/>
              <a:sym typeface="Arial Bold"/>
            </a:endParaRPr>
          </a:p>
          <a:p>
            <a:pPr marL="307975" indent="352425" fontAlgn="base">
              <a:spcBef>
                <a:spcPct val="0"/>
              </a:spcBef>
              <a:spcAft>
                <a:spcPct val="0"/>
              </a:spcAft>
              <a:buSzPct val="70000"/>
              <a:buFontTx/>
              <a:buBlip>
                <a:blip r:embed="rId5"/>
              </a:buBlip>
            </a:pPr>
            <a:r>
              <a:rPr lang="en-US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Эпидемии не описаны</a:t>
            </a:r>
            <a:r>
              <a:rPr lang="ru-RU" altLang="ru-RU" sz="1400" i="1" smtClean="0">
                <a:solidFill>
                  <a:srgbClr val="000000"/>
                </a:solidFill>
                <a:latin typeface="Arial Black" pitchFamily="34" charset="0"/>
                <a:sym typeface="Arial Bold"/>
              </a:rPr>
              <a:t>.</a:t>
            </a:r>
            <a:endParaRPr lang="en-US" altLang="ru-RU" sz="1400" i="1" smtClean="0">
              <a:solidFill>
                <a:srgbClr val="000000"/>
              </a:solidFill>
              <a:latin typeface="Arial Black" pitchFamily="34" charset="0"/>
              <a:sym typeface="Arial Bold"/>
            </a:endParaRPr>
          </a:p>
        </p:txBody>
      </p:sp>
    </p:spTree>
    <p:extLst>
      <p:ext uri="{BB962C8B-B14F-4D97-AF65-F5344CB8AC3E}">
        <p14:creationId xmlns:p14="http://schemas.microsoft.com/office/powerpoint/2010/main" val="34635528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426" name="Rectangle 4"/>
          <p:cNvSpPr>
            <a:spLocks noChangeArrowheads="1"/>
          </p:cNvSpPr>
          <p:nvPr/>
        </p:nvSpPr>
        <p:spPr bwMode="auto">
          <a:xfrm>
            <a:off x="450850" y="277813"/>
            <a:ext cx="8099425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4" tIns="45682" rIns="91364" bIns="45682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100" b="1" smtClean="0">
                <a:solidFill>
                  <a:srgbClr val="C00000"/>
                </a:solidFill>
                <a:latin typeface="Times New Roman" pitchFamily="18" charset="0"/>
              </a:rPr>
              <a:t>Клинические синдромы гриппа</a:t>
            </a:r>
          </a:p>
        </p:txBody>
      </p:sp>
      <p:sp>
        <p:nvSpPr>
          <p:cNvPr id="487427" name="AutoShape 5"/>
          <p:cNvSpPr>
            <a:spLocks noChangeArrowheads="1"/>
          </p:cNvSpPr>
          <p:nvPr/>
        </p:nvSpPr>
        <p:spPr bwMode="auto">
          <a:xfrm>
            <a:off x="814388" y="1628775"/>
            <a:ext cx="1984375" cy="914400"/>
          </a:xfrm>
          <a:prstGeom prst="downArrowCallout">
            <a:avLst>
              <a:gd name="adj1" fmla="val 54253"/>
              <a:gd name="adj2" fmla="val 54253"/>
              <a:gd name="adj3" fmla="val 16667"/>
              <a:gd name="adj4" fmla="val 66667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Интоксикация</a:t>
            </a:r>
          </a:p>
        </p:txBody>
      </p:sp>
      <p:sp>
        <p:nvSpPr>
          <p:cNvPr id="487428" name="AutoShape 6"/>
          <p:cNvSpPr>
            <a:spLocks noChangeArrowheads="1"/>
          </p:cNvSpPr>
          <p:nvPr/>
        </p:nvSpPr>
        <p:spPr bwMode="auto">
          <a:xfrm>
            <a:off x="5775325" y="1268413"/>
            <a:ext cx="2979738" cy="914400"/>
          </a:xfrm>
          <a:prstGeom prst="downArrowCallout">
            <a:avLst>
              <a:gd name="adj1" fmla="val 81467"/>
              <a:gd name="adj2" fmla="val 81467"/>
              <a:gd name="adj3" fmla="val 16667"/>
              <a:gd name="adj4" fmla="val 66667"/>
            </a:avLst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smtClean="0">
                <a:solidFill>
                  <a:srgbClr val="0033CC"/>
                </a:solidFill>
                <a:latin typeface="Arial Black" pitchFamily="34" charset="0"/>
              </a:rPr>
              <a:t>Поражение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smtClean="0">
                <a:solidFill>
                  <a:srgbClr val="0033CC"/>
                </a:solidFill>
                <a:latin typeface="Arial Black" pitchFamily="34" charset="0"/>
              </a:rPr>
              <a:t>респираторного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smtClean="0">
                <a:solidFill>
                  <a:srgbClr val="0033CC"/>
                </a:solidFill>
                <a:latin typeface="Arial Black" pitchFamily="34" charset="0"/>
              </a:rPr>
              <a:t>тракта</a:t>
            </a:r>
          </a:p>
        </p:txBody>
      </p:sp>
      <p:sp>
        <p:nvSpPr>
          <p:cNvPr id="487429" name="Oval 7"/>
          <p:cNvSpPr>
            <a:spLocks noChangeArrowheads="1"/>
          </p:cNvSpPr>
          <p:nvPr/>
        </p:nvSpPr>
        <p:spPr bwMode="auto">
          <a:xfrm>
            <a:off x="2870200" y="2349500"/>
            <a:ext cx="1843088" cy="914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Лихорадка</a:t>
            </a:r>
          </a:p>
        </p:txBody>
      </p:sp>
      <p:sp>
        <p:nvSpPr>
          <p:cNvPr id="487430" name="Oval 8"/>
          <p:cNvSpPr>
            <a:spLocks noChangeArrowheads="1"/>
          </p:cNvSpPr>
          <p:nvPr/>
        </p:nvSpPr>
        <p:spPr bwMode="auto">
          <a:xfrm>
            <a:off x="2728913" y="3933825"/>
            <a:ext cx="1912937" cy="914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Общая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разбитость</a:t>
            </a:r>
          </a:p>
        </p:txBody>
      </p:sp>
      <p:sp>
        <p:nvSpPr>
          <p:cNvPr id="487431" name="Oval 9"/>
          <p:cNvSpPr>
            <a:spLocks noChangeArrowheads="1"/>
          </p:cNvSpPr>
          <p:nvPr/>
        </p:nvSpPr>
        <p:spPr bwMode="auto">
          <a:xfrm>
            <a:off x="3295650" y="3213100"/>
            <a:ext cx="1751013" cy="914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Адинамия</a:t>
            </a:r>
          </a:p>
        </p:txBody>
      </p:sp>
      <p:sp>
        <p:nvSpPr>
          <p:cNvPr id="487432" name="Oval 10"/>
          <p:cNvSpPr>
            <a:spLocks noChangeArrowheads="1"/>
          </p:cNvSpPr>
          <p:nvPr/>
        </p:nvSpPr>
        <p:spPr bwMode="auto">
          <a:xfrm>
            <a:off x="319088" y="5084763"/>
            <a:ext cx="2125662" cy="9144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Повышенная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потливость</a:t>
            </a:r>
          </a:p>
        </p:txBody>
      </p:sp>
      <p:sp>
        <p:nvSpPr>
          <p:cNvPr id="487433" name="Oval 11"/>
          <p:cNvSpPr>
            <a:spLocks noChangeArrowheads="1"/>
          </p:cNvSpPr>
          <p:nvPr/>
        </p:nvSpPr>
        <p:spPr bwMode="auto">
          <a:xfrm>
            <a:off x="0" y="4292600"/>
            <a:ext cx="2176463" cy="93662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Боль в мышцах</a:t>
            </a:r>
          </a:p>
        </p:txBody>
      </p:sp>
      <p:sp>
        <p:nvSpPr>
          <p:cNvPr id="487434" name="Oval 12"/>
          <p:cNvSpPr>
            <a:spLocks noChangeArrowheads="1"/>
          </p:cNvSpPr>
          <p:nvPr/>
        </p:nvSpPr>
        <p:spPr bwMode="auto">
          <a:xfrm>
            <a:off x="0" y="2565400"/>
            <a:ext cx="3367088" cy="19431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Сильная головная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боль, преимущественно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в лобных отделах 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надбровных дугах</a:t>
            </a:r>
            <a:r>
              <a:rPr lang="ru-RU" altLang="ru-RU" sz="1400" smtClean="0">
                <a:solidFill>
                  <a:srgbClr val="000000"/>
                </a:solidFill>
                <a:latin typeface="Verdana" pitchFamily="34" charset="0"/>
              </a:rPr>
              <a:t> </a:t>
            </a:r>
          </a:p>
        </p:txBody>
      </p:sp>
      <p:sp>
        <p:nvSpPr>
          <p:cNvPr id="487435" name="Oval 13"/>
          <p:cNvSpPr>
            <a:spLocks noChangeArrowheads="1"/>
          </p:cNvSpPr>
          <p:nvPr/>
        </p:nvSpPr>
        <p:spPr bwMode="auto">
          <a:xfrm>
            <a:off x="2303463" y="4797425"/>
            <a:ext cx="4467225" cy="120332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Болевые ощущения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в глазных яблоках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(светобоязнь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0000"/>
                </a:solidFill>
                <a:latin typeface="Verdana" pitchFamily="34" charset="0"/>
              </a:rPr>
              <a:t>слезотечение и др.)</a:t>
            </a:r>
          </a:p>
        </p:txBody>
      </p:sp>
      <p:sp>
        <p:nvSpPr>
          <p:cNvPr id="487436" name="Oval 14"/>
          <p:cNvSpPr>
            <a:spLocks noChangeArrowheads="1"/>
          </p:cNvSpPr>
          <p:nvPr/>
        </p:nvSpPr>
        <p:spPr bwMode="auto">
          <a:xfrm>
            <a:off x="5280025" y="2205038"/>
            <a:ext cx="2055813" cy="9144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Перщение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в горле</a:t>
            </a:r>
          </a:p>
        </p:txBody>
      </p:sp>
      <p:sp>
        <p:nvSpPr>
          <p:cNvPr id="487437" name="Oval 15"/>
          <p:cNvSpPr>
            <a:spLocks noChangeArrowheads="1"/>
          </p:cNvSpPr>
          <p:nvPr/>
        </p:nvSpPr>
        <p:spPr bwMode="auto">
          <a:xfrm>
            <a:off x="6910388" y="2492375"/>
            <a:ext cx="2090737" cy="9144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Сухой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кашель</a:t>
            </a:r>
          </a:p>
        </p:txBody>
      </p:sp>
      <p:sp>
        <p:nvSpPr>
          <p:cNvPr id="487438" name="Oval 16"/>
          <p:cNvSpPr>
            <a:spLocks noChangeArrowheads="1"/>
          </p:cNvSpPr>
          <p:nvPr/>
        </p:nvSpPr>
        <p:spPr bwMode="auto">
          <a:xfrm>
            <a:off x="5280025" y="3141663"/>
            <a:ext cx="2765425" cy="9144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Саднящие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боли за грудиной</a:t>
            </a:r>
          </a:p>
        </p:txBody>
      </p:sp>
      <p:sp>
        <p:nvSpPr>
          <p:cNvPr id="487439" name="Oval 17"/>
          <p:cNvSpPr>
            <a:spLocks noChangeArrowheads="1"/>
          </p:cNvSpPr>
          <p:nvPr/>
        </p:nvSpPr>
        <p:spPr bwMode="auto">
          <a:xfrm>
            <a:off x="6484938" y="3860800"/>
            <a:ext cx="2270125" cy="9144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Заложенность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носа</a:t>
            </a:r>
          </a:p>
        </p:txBody>
      </p:sp>
      <p:sp>
        <p:nvSpPr>
          <p:cNvPr id="487440" name="Oval 18"/>
          <p:cNvSpPr>
            <a:spLocks noChangeArrowheads="1"/>
          </p:cNvSpPr>
          <p:nvPr/>
        </p:nvSpPr>
        <p:spPr bwMode="auto">
          <a:xfrm>
            <a:off x="6910388" y="4652963"/>
            <a:ext cx="1914525" cy="914400"/>
          </a:xfrm>
          <a:prstGeom prst="ellipse">
            <a:avLst/>
          </a:prstGeom>
          <a:solidFill>
            <a:srgbClr val="CC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364" tIns="45682" rIns="91364" bIns="4568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Осиплость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smtClean="0">
                <a:solidFill>
                  <a:srgbClr val="0033CC"/>
                </a:solidFill>
                <a:latin typeface="Verdana" pitchFamily="34" charset="0"/>
              </a:rPr>
              <a:t>голоса</a:t>
            </a:r>
          </a:p>
        </p:txBody>
      </p:sp>
    </p:spTree>
    <p:extLst>
      <p:ext uri="{BB962C8B-B14F-4D97-AF65-F5344CB8AC3E}">
        <p14:creationId xmlns:p14="http://schemas.microsoft.com/office/powerpoint/2010/main" val="30893424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64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755650" y="188913"/>
            <a:ext cx="7812088" cy="576262"/>
          </a:xfrm>
        </p:spPr>
        <p:txBody>
          <a:bodyPr/>
          <a:lstStyle/>
          <a:p>
            <a:pPr eaLnBrk="1" hangingPunct="1"/>
            <a:r>
              <a:rPr lang="ru-RU" u="sng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Почему опасен ГРИПП?</a:t>
            </a:r>
            <a:endParaRPr lang="nl-NL" altLang="ru-RU" sz="2800" dirty="0" smtClean="0">
              <a:solidFill>
                <a:schemeClr val="tx1"/>
              </a:solidFill>
              <a:latin typeface="Bookman Old Style" pitchFamily="18" charset="0"/>
            </a:endParaRPr>
          </a:p>
        </p:txBody>
      </p:sp>
      <p:graphicFrame>
        <p:nvGraphicFramePr>
          <p:cNvPr id="183299" name="Group 3"/>
          <p:cNvGraphicFramePr>
            <a:graphicFrameLocks noGrp="1"/>
          </p:cNvGraphicFramePr>
          <p:nvPr>
            <p:ph type="tbl" idx="4294967295"/>
            <p:extLst>
              <p:ext uri="{D42A27DB-BD31-4B8C-83A1-F6EECF244321}">
                <p14:modId xmlns:p14="http://schemas.microsoft.com/office/powerpoint/2010/main" val="1323683380"/>
              </p:ext>
            </p:extLst>
          </p:nvPr>
        </p:nvGraphicFramePr>
        <p:xfrm>
          <a:off x="250825" y="1052513"/>
          <a:ext cx="8713788" cy="5400675"/>
        </p:xfrm>
        <a:graphic>
          <a:graphicData uri="http://schemas.openxmlformats.org/drawingml/2006/table">
            <a:tbl>
              <a:tblPr/>
              <a:tblGrid>
                <a:gridCol w="2905125">
                  <a:extLst>
                    <a:ext uri="{9D8B030D-6E8A-4147-A177-3AD203B41FA5}"/>
                  </a:extLst>
                </a:gridCol>
                <a:gridCol w="2903538">
                  <a:extLst>
                    <a:ext uri="{9D8B030D-6E8A-4147-A177-3AD203B41FA5}"/>
                  </a:extLst>
                </a:gridCol>
                <a:gridCol w="2905125">
                  <a:extLst>
                    <a:ext uri="{9D8B030D-6E8A-4147-A177-3AD203B41FA5}"/>
                  </a:extLst>
                </a:gridCol>
              </a:tblGrid>
              <a:tr h="5761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В течение 1-й недели </a:t>
                      </a:r>
                      <a:endParaRPr kumimoji="0" lang="nl-NL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35" marB="4573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В течение 2-х недель</a:t>
                      </a:r>
                      <a:endParaRPr kumimoji="0" lang="nl-NL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35" marB="4573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В течение 3-х недель</a:t>
                      </a:r>
                      <a:endParaRPr kumimoji="0" lang="nl-NL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35" marB="4573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extLst>
                  <a:ext uri="{0D108BD9-81ED-4DB2-BD59-A6C34878D82A}"/>
                </a:extLst>
              </a:tr>
              <a:tr h="4824550">
                <a:tc>
                  <a:txBody>
                    <a:bodyPr/>
                    <a:lstStyle/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Судороги при высокой лихорадке</a:t>
                      </a: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Стеноз гортани</a:t>
                      </a: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nl-NL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Вирусная пневмония </a:t>
                      </a: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ОРДС</a:t>
                      </a: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Токсический шок</a:t>
                      </a:r>
                    </a:p>
                  </a:txBody>
                  <a:tcPr marL="126000" marR="126000" marT="126039" marB="12603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Бронхиолит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Энцефалит</a:t>
                      </a:r>
                      <a:endParaRPr kumimoji="0" lang="en-GB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GB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Средний отит </a:t>
                      </a:r>
                      <a:endParaRPr kumimoji="0" lang="en-GB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en-GB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Вторичная бактериальная пневмония</a:t>
                      </a: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endParaRPr kumimoji="0" 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Эпиглотит</a:t>
                      </a:r>
                      <a:endParaRPr kumimoji="0" 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6F8E4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L="126000" marR="126000" marT="126039" marB="12603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Атаксия </a:t>
                      </a: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Бронхиолит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Осложнения основных заболеваний </a:t>
                      </a: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Миокардиты</a:t>
                      </a: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Перикардиты</a:t>
                      </a: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Миозиты</a:t>
                      </a: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  <a:p>
                      <a:pPr marL="177800" marR="0" lvl="0" indent="-177800" algn="l" defTabSz="914400" rtl="0" eaLnBrk="0" fontAlgn="base" latinLnBrk="0" hangingPunct="0">
                        <a:lnSpc>
                          <a:spcPct val="12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</a:rPr>
                        <a:t>Синдром Рейе</a:t>
                      </a:r>
                      <a:endParaRPr kumimoji="0" lang="en-GB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Gill Sans MT" pitchFamily="34" charset="0"/>
                      </a:endParaRPr>
                    </a:p>
                  </a:txBody>
                  <a:tcPr marL="126000" marR="126000" marT="126039" marB="12603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00B0F0">
                            <a:tint val="66000"/>
                            <a:satMod val="160000"/>
                          </a:srgbClr>
                        </a:gs>
                        <a:gs pos="50000">
                          <a:srgbClr val="00B0F0">
                            <a:tint val="44500"/>
                            <a:satMod val="160000"/>
                          </a:srgbClr>
                        </a:gs>
                        <a:gs pos="100000">
                          <a:srgbClr val="00B0F0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22531" name="Rectangle 6"/>
          <p:cNvSpPr>
            <a:spLocks noChangeArrowheads="1"/>
          </p:cNvSpPr>
          <p:nvPr/>
        </p:nvSpPr>
        <p:spPr bwMode="auto">
          <a:xfrm>
            <a:off x="250825" y="6524625"/>
            <a:ext cx="8642350" cy="2778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364" tIns="45682" rIns="91364" bIns="45682" anchor="ctr">
            <a:spAutoFit/>
          </a:bodyPr>
          <a:lstStyle/>
          <a:p>
            <a:pPr>
              <a:defRPr/>
            </a:pPr>
            <a:r>
              <a:rPr lang="nl-NL" sz="1200" b="1" i="1" dirty="0">
                <a:solidFill>
                  <a:srgbClr val="2D2D8A">
                    <a:lumMod val="50000"/>
                  </a:srgbClr>
                </a:solidFill>
              </a:rPr>
              <a:t>Connolly AM, et al. What are the complications of influenza and can they be prevented? BMJ 1993; 306: 1452-1454.</a:t>
            </a:r>
          </a:p>
        </p:txBody>
      </p:sp>
    </p:spTree>
    <p:extLst>
      <p:ext uri="{BB962C8B-B14F-4D97-AF65-F5344CB8AC3E}">
        <p14:creationId xmlns:p14="http://schemas.microsoft.com/office/powerpoint/2010/main" val="20021622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9300" y="692150"/>
            <a:ext cx="7543800" cy="914400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/>
              <a:t>Сроки выживания вируса гриппа</a:t>
            </a:r>
          </a:p>
        </p:txBody>
      </p:sp>
      <p:sp>
        <p:nvSpPr>
          <p:cNvPr id="47107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6248400" y="76200"/>
            <a:ext cx="2895600" cy="288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eaLnBrk="1" hangingPunct="1"/>
            <a:fld id="{1421FF60-B8B6-4C0F-B764-1E2435B798FF}" type="slidenum">
              <a:rPr lang="ru-RU" altLang="ru-RU" smtClean="0">
                <a:solidFill>
                  <a:prstClr val="black"/>
                </a:solidFill>
                <a:latin typeface="Arial" pitchFamily="34" charset="0"/>
              </a:rPr>
              <a:pPr eaLnBrk="1" hangingPunct="1"/>
              <a:t>7</a:t>
            </a:fld>
            <a:endParaRPr lang="ru-RU" alt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1203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611188" y="1797050"/>
            <a:ext cx="8229600" cy="4797425"/>
          </a:xfrm>
        </p:spPr>
        <p:txBody>
          <a:bodyPr/>
          <a:lstStyle/>
          <a:p>
            <a:pPr marL="274320" indent="-256032" algn="ctr" eaLnBrk="1" fontAlgn="auto" hangingPunct="1">
              <a:spcAft>
                <a:spcPts val="0"/>
              </a:spcAft>
              <a:buClr>
                <a:srgbClr val="7030A0"/>
              </a:buClr>
              <a:buFont typeface="Wingdings" pitchFamily="2" charset="2"/>
              <a:buChar char="Ø"/>
              <a:defRPr/>
            </a:pPr>
            <a:endParaRPr lang="en-US" altLang="ru-RU" b="1" dirty="0" smtClean="0"/>
          </a:p>
          <a:p>
            <a:pPr marL="274320" indent="-256032" algn="ctr" eaLnBrk="1" fontAlgn="auto" hangingPunct="1">
              <a:spcAft>
                <a:spcPts val="0"/>
              </a:spcAft>
              <a:buClr>
                <a:srgbClr val="7030A0"/>
              </a:buClr>
              <a:buFont typeface="Wingdings" pitchFamily="2" charset="2"/>
              <a:buChar char="Ø"/>
              <a:defRPr/>
            </a:pPr>
            <a:endParaRPr lang="en-US" altLang="ru-RU" b="1" dirty="0" smtClean="0"/>
          </a:p>
          <a:p>
            <a:pPr marL="274320" indent="-256032" eaLnBrk="1" fontAlgn="auto" hangingPunct="1">
              <a:spcAft>
                <a:spcPts val="0"/>
              </a:spcAft>
              <a:buClr>
                <a:srgbClr val="FFFF00"/>
              </a:buClr>
              <a:buFont typeface="Wingdings" pitchFamily="2" charset="2"/>
              <a:buChar char="Ø"/>
              <a:defRPr/>
            </a:pPr>
            <a:r>
              <a:rPr lang="ru-RU" altLang="ru-RU" sz="2800" b="1" dirty="0" smtClean="0"/>
              <a:t>В жилых помещениях – 2-9 часов</a:t>
            </a:r>
          </a:p>
          <a:p>
            <a:pPr marL="274320" indent="-256032" eaLnBrk="1" fontAlgn="auto" hangingPunct="1">
              <a:spcAft>
                <a:spcPts val="0"/>
              </a:spcAft>
              <a:buClr>
                <a:srgbClr val="FFFF00"/>
              </a:buClr>
              <a:buFont typeface="Wingdings" pitchFamily="2" charset="2"/>
              <a:buChar char="Ø"/>
              <a:defRPr/>
            </a:pPr>
            <a:r>
              <a:rPr lang="ru-RU" altLang="ru-RU" sz="2800" b="1" dirty="0" smtClean="0"/>
              <a:t>На металле и пластмассе – 24-48 час.</a:t>
            </a:r>
          </a:p>
          <a:p>
            <a:pPr marL="274320" indent="-256032" eaLnBrk="1" fontAlgn="auto" hangingPunct="1">
              <a:spcAft>
                <a:spcPts val="0"/>
              </a:spcAft>
              <a:buClr>
                <a:srgbClr val="FFFF00"/>
              </a:buClr>
              <a:buFont typeface="Wingdings" pitchFamily="2" charset="2"/>
              <a:buChar char="Ø"/>
              <a:defRPr/>
            </a:pPr>
            <a:r>
              <a:rPr lang="ru-RU" altLang="ru-RU" sz="2800" b="1" dirty="0" smtClean="0"/>
              <a:t>На бумаге, картоне, тканях – 8-12 час.</a:t>
            </a:r>
          </a:p>
          <a:p>
            <a:pPr marL="274320" indent="-256032" eaLnBrk="1" fontAlgn="auto" hangingPunct="1">
              <a:spcAft>
                <a:spcPts val="0"/>
              </a:spcAft>
              <a:buClr>
                <a:srgbClr val="FFFF00"/>
              </a:buClr>
              <a:buFont typeface="Wingdings" pitchFamily="2" charset="2"/>
              <a:buChar char="Ø"/>
              <a:defRPr/>
            </a:pPr>
            <a:r>
              <a:rPr lang="ru-RU" altLang="ru-RU" sz="2800" b="1" dirty="0" smtClean="0"/>
              <a:t>В мокроте - 2 недели</a:t>
            </a:r>
          </a:p>
          <a:p>
            <a:pPr marL="274320" indent="-256032" eaLnBrk="1" fontAlgn="auto" hangingPunct="1">
              <a:spcAft>
                <a:spcPts val="0"/>
              </a:spcAft>
              <a:buClr>
                <a:srgbClr val="FFFF00"/>
              </a:buClr>
              <a:buFont typeface="Wingdings" pitchFamily="2" charset="2"/>
              <a:buChar char="Ø"/>
              <a:defRPr/>
            </a:pPr>
            <a:r>
              <a:rPr lang="ru-RU" altLang="ru-RU" sz="2800" b="1" dirty="0" smtClean="0"/>
              <a:t>На стекле – 10 суток</a:t>
            </a:r>
          </a:p>
          <a:p>
            <a:pPr marL="274320" indent="-256032" eaLnBrk="1" fontAlgn="auto" hangingPunct="1">
              <a:spcAft>
                <a:spcPts val="0"/>
              </a:spcAft>
              <a:buClr>
                <a:srgbClr val="FFFF00"/>
              </a:buClr>
              <a:buFont typeface="Wingdings" pitchFamily="2" charset="2"/>
              <a:buChar char="Ø"/>
              <a:defRPr/>
            </a:pPr>
            <a:r>
              <a:rPr lang="ru-RU" altLang="ru-RU" sz="2800" b="1" dirty="0" smtClean="0"/>
              <a:t>На руках человека – 5 мин.</a:t>
            </a:r>
          </a:p>
        </p:txBody>
      </p:sp>
      <p:pic>
        <p:nvPicPr>
          <p:cNvPr id="4710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1557338"/>
            <a:ext cx="6810375" cy="171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288213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dirty="0" smtClean="0">
                <a:solidFill>
                  <a:srgbClr val="FFC000"/>
                </a:solidFill>
              </a:rPr>
              <a:t>Специфическая профилактика: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sz="4400" dirty="0" smtClean="0"/>
              <a:t>Осуществляется вакцинацией сезонными штаммами вирусов гриппа:</a:t>
            </a:r>
          </a:p>
          <a:p>
            <a:pPr eaLnBrk="1" hangingPunct="1">
              <a:defRPr/>
            </a:pPr>
            <a:r>
              <a:rPr lang="ru-RU" sz="4400" dirty="0" smtClean="0"/>
              <a:t>Субъединичные </a:t>
            </a:r>
          </a:p>
          <a:p>
            <a:pPr eaLnBrk="1" hangingPunct="1">
              <a:defRPr/>
            </a:pPr>
            <a:r>
              <a:rPr lang="ru-RU" sz="4400" dirty="0" smtClean="0"/>
              <a:t>Сплит-вакцины</a:t>
            </a:r>
          </a:p>
        </p:txBody>
      </p:sp>
    </p:spTree>
    <p:extLst>
      <p:ext uri="{BB962C8B-B14F-4D97-AF65-F5344CB8AC3E}">
        <p14:creationId xmlns:p14="http://schemas.microsoft.com/office/powerpoint/2010/main" val="2657855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Заголовок 1"/>
          <p:cNvSpPr>
            <a:spLocks noGrp="1"/>
          </p:cNvSpPr>
          <p:nvPr>
            <p:ph type="title"/>
          </p:nvPr>
        </p:nvSpPr>
        <p:spPr>
          <a:xfrm>
            <a:off x="971550" y="260350"/>
            <a:ext cx="7672388" cy="1296988"/>
          </a:xfrm>
        </p:spPr>
        <p:txBody>
          <a:bodyPr/>
          <a:lstStyle/>
          <a:p>
            <a:pPr eaLnBrk="1" hangingPunct="1"/>
            <a:r>
              <a:rPr lang="ru-RU" altLang="ru-RU" sz="3200" b="1" smtClean="0">
                <a:solidFill>
                  <a:srgbClr val="FF0000"/>
                </a:solidFill>
              </a:rPr>
              <a:t>Контингенты, подлежащие </a:t>
            </a:r>
            <a:br>
              <a:rPr lang="ru-RU" altLang="ru-RU" sz="3200" b="1" smtClean="0">
                <a:solidFill>
                  <a:srgbClr val="FF0000"/>
                </a:solidFill>
              </a:rPr>
            </a:br>
            <a:r>
              <a:rPr lang="ru-RU" altLang="ru-RU" sz="3200" b="1" smtClean="0">
                <a:solidFill>
                  <a:srgbClr val="FF0000"/>
                </a:solidFill>
              </a:rPr>
              <a:t>иммунизации против гриппа в РФ</a:t>
            </a:r>
          </a:p>
        </p:txBody>
      </p:sp>
      <p:sp>
        <p:nvSpPr>
          <p:cNvPr id="34819" name="Содержимое 2"/>
          <p:cNvSpPr>
            <a:spLocks noGrp="1"/>
          </p:cNvSpPr>
          <p:nvPr>
            <p:ph idx="1"/>
          </p:nvPr>
        </p:nvSpPr>
        <p:spPr>
          <a:xfrm>
            <a:off x="714375" y="1557338"/>
            <a:ext cx="7543800" cy="4318000"/>
          </a:xfrm>
        </p:spPr>
        <p:txBody>
          <a:bodyPr/>
          <a:lstStyle/>
          <a:p>
            <a:pPr marL="273050" indent="-273050" eaLnBrk="1" hangingPunct="1">
              <a:lnSpc>
                <a:spcPct val="90000"/>
              </a:lnSpc>
            </a:pPr>
            <a:r>
              <a:rPr lang="ru-RU" altLang="ru-RU" sz="1700" dirty="0" smtClean="0"/>
              <a:t>дети с 6-ти месяцев;</a:t>
            </a:r>
          </a:p>
          <a:p>
            <a:pPr marL="273050" indent="-273050" eaLnBrk="1" hangingPunct="1">
              <a:lnSpc>
                <a:spcPct val="90000"/>
              </a:lnSpc>
            </a:pPr>
            <a:endParaRPr lang="ru-RU" altLang="ru-RU" sz="700" dirty="0" smtClean="0"/>
          </a:p>
          <a:p>
            <a:pPr marL="273050" indent="-273050" eaLnBrk="1" hangingPunct="1">
              <a:lnSpc>
                <a:spcPct val="90000"/>
              </a:lnSpc>
            </a:pPr>
            <a:r>
              <a:rPr lang="ru-RU" altLang="ru-RU" sz="1700" dirty="0" smtClean="0"/>
              <a:t>учащиеся 1-11 классов;</a:t>
            </a:r>
          </a:p>
          <a:p>
            <a:pPr marL="273050" indent="-273050" eaLnBrk="1" hangingPunct="1">
              <a:lnSpc>
                <a:spcPct val="90000"/>
              </a:lnSpc>
            </a:pPr>
            <a:endParaRPr lang="ru-RU" altLang="ru-RU" sz="700" dirty="0" smtClean="0"/>
          </a:p>
          <a:p>
            <a:pPr marL="273050" indent="-273050" eaLnBrk="1" hangingPunct="1">
              <a:lnSpc>
                <a:spcPct val="90000"/>
              </a:lnSpc>
            </a:pPr>
            <a:r>
              <a:rPr lang="ru-RU" altLang="ru-RU" sz="1700" dirty="0" smtClean="0"/>
              <a:t>студенты высших профессиональных и средних профессиональных учебных заведений;</a:t>
            </a:r>
          </a:p>
          <a:p>
            <a:pPr marL="273050" indent="-273050" eaLnBrk="1" hangingPunct="1">
              <a:lnSpc>
                <a:spcPct val="90000"/>
              </a:lnSpc>
            </a:pPr>
            <a:endParaRPr lang="ru-RU" altLang="ru-RU" sz="700" dirty="0" smtClean="0"/>
          </a:p>
          <a:p>
            <a:pPr marL="273050" indent="-273050" eaLnBrk="1" hangingPunct="1">
              <a:lnSpc>
                <a:spcPct val="90000"/>
              </a:lnSpc>
            </a:pPr>
            <a:r>
              <a:rPr lang="ru-RU" altLang="ru-RU" sz="1700" dirty="0" smtClean="0"/>
              <a:t>взрослые, работающие по отдельным профессиям и должностям </a:t>
            </a:r>
          </a:p>
          <a:p>
            <a:pPr marL="273050" indent="-273050" eaLnBrk="1" hangingPunct="1">
              <a:lnSpc>
                <a:spcPct val="90000"/>
              </a:lnSpc>
              <a:buFont typeface="Wingdings" pitchFamily="2" charset="2"/>
              <a:buNone/>
            </a:pPr>
            <a:r>
              <a:rPr lang="en-US" altLang="ru-RU" sz="1700" dirty="0" smtClean="0"/>
              <a:t>     </a:t>
            </a:r>
            <a:r>
              <a:rPr lang="ru-RU" altLang="ru-RU" sz="1700" dirty="0" smtClean="0"/>
              <a:t>(работники медицинских и образовательных учреждений, транспорта, коммунальной сферы и др.);</a:t>
            </a:r>
          </a:p>
          <a:p>
            <a:pPr marL="273050" indent="-273050" eaLnBrk="1" hangingPunct="1">
              <a:lnSpc>
                <a:spcPct val="90000"/>
              </a:lnSpc>
              <a:buFont typeface="Wingdings" pitchFamily="2" charset="2"/>
              <a:buNone/>
            </a:pPr>
            <a:endParaRPr lang="ru-RU" altLang="ru-RU" sz="700" dirty="0" smtClean="0"/>
          </a:p>
          <a:p>
            <a:pPr marL="273050" indent="-273050" eaLnBrk="1" hangingPunct="1">
              <a:lnSpc>
                <a:spcPct val="90000"/>
              </a:lnSpc>
            </a:pPr>
            <a:r>
              <a:rPr lang="ru-RU" altLang="ru-RU" sz="1700" dirty="0" smtClean="0"/>
              <a:t>взрослые старше 60 лет.</a:t>
            </a:r>
          </a:p>
          <a:p>
            <a:pPr marL="273050" indent="-273050" eaLnBrk="1" hangingPunct="1">
              <a:lnSpc>
                <a:spcPct val="90000"/>
              </a:lnSpc>
            </a:pPr>
            <a:r>
              <a:rPr lang="ru-RU" altLang="ru-RU" sz="1700" b="1" dirty="0" smtClean="0">
                <a:solidFill>
                  <a:srgbClr val="C00000"/>
                </a:solidFill>
              </a:rPr>
              <a:t>беременные женщины</a:t>
            </a:r>
            <a:r>
              <a:rPr lang="ru-RU" altLang="ru-RU" sz="1700" dirty="0" smtClean="0">
                <a:solidFill>
                  <a:srgbClr val="C00000"/>
                </a:solidFill>
              </a:rPr>
              <a:t>; </a:t>
            </a:r>
            <a:r>
              <a:rPr lang="ru-RU" altLang="ru-RU" sz="1700" b="1" dirty="0" smtClean="0">
                <a:solidFill>
                  <a:srgbClr val="C00000"/>
                </a:solidFill>
              </a:rPr>
              <a:t>лица, подлежащие призыву на военную службу; </a:t>
            </a:r>
          </a:p>
          <a:p>
            <a:pPr marL="273050" indent="-273050" eaLnBrk="1" hangingPunct="1">
              <a:lnSpc>
                <a:spcPct val="90000"/>
              </a:lnSpc>
            </a:pPr>
            <a:r>
              <a:rPr lang="ru-RU" altLang="ru-RU" sz="1700" b="1" dirty="0" smtClean="0">
                <a:solidFill>
                  <a:srgbClr val="C00000"/>
                </a:solidFill>
              </a:rPr>
              <a:t>лица с хроническими заболеваниями, в том числе заболеваниями легких, сердечно-сосудистыми заболеваниями, метаболическими нарушениями и ожирением.</a:t>
            </a:r>
          </a:p>
          <a:p>
            <a:pPr marL="273050" indent="-273050" eaLnBrk="1" hangingPunct="1">
              <a:lnSpc>
                <a:spcPct val="90000"/>
              </a:lnSpc>
              <a:buFontTx/>
              <a:buNone/>
            </a:pPr>
            <a:endParaRPr lang="ru-RU" altLang="ru-RU" sz="1700" b="1" i="1" dirty="0" smtClean="0">
              <a:solidFill>
                <a:srgbClr val="C00000"/>
              </a:solidFill>
            </a:endParaRPr>
          </a:p>
          <a:p>
            <a:pPr marL="273050" indent="-273050" eaLnBrk="1" hangingPunct="1">
              <a:lnSpc>
                <a:spcPct val="90000"/>
              </a:lnSpc>
            </a:pPr>
            <a:endParaRPr lang="ru-RU" altLang="ru-RU" sz="1900" dirty="0" smtClean="0"/>
          </a:p>
        </p:txBody>
      </p:sp>
    </p:spTree>
    <p:extLst>
      <p:ext uri="{BB962C8B-B14F-4D97-AF65-F5344CB8AC3E}">
        <p14:creationId xmlns:p14="http://schemas.microsoft.com/office/powerpoint/2010/main" val="3381960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9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La ment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_La ment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5_La ment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Течение">
  <a:themeElements>
    <a:clrScheme name="Течение 1">
      <a:dk1>
        <a:srgbClr val="000514"/>
      </a:dk1>
      <a:lt1>
        <a:srgbClr val="FFFFFF"/>
      </a:lt1>
      <a:dk2>
        <a:srgbClr val="003399"/>
      </a:dk2>
      <a:lt2>
        <a:srgbClr val="E5E5FF"/>
      </a:lt2>
      <a:accent1>
        <a:srgbClr val="0099CC"/>
      </a:accent1>
      <a:accent2>
        <a:srgbClr val="A886E0"/>
      </a:accent2>
      <a:accent3>
        <a:srgbClr val="AAADCA"/>
      </a:accent3>
      <a:accent4>
        <a:srgbClr val="DADADA"/>
      </a:accent4>
      <a:accent5>
        <a:srgbClr val="AACAE2"/>
      </a:accent5>
      <a:accent6>
        <a:srgbClr val="9879CB"/>
      </a:accent6>
      <a:hlink>
        <a:srgbClr val="FFCC00"/>
      </a:hlink>
      <a:folHlink>
        <a:srgbClr val="FFFFCC"/>
      </a:folHlink>
    </a:clrScheme>
    <a:fontScheme name="Течение">
      <a:majorFont>
        <a:latin typeface="Garamond"/>
        <a:ea typeface=""/>
        <a:cs typeface=""/>
      </a:majorFont>
      <a:minorFont>
        <a:latin typeface="Garamond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Течение 1">
        <a:dk1>
          <a:srgbClr val="000514"/>
        </a:dk1>
        <a:lt1>
          <a:srgbClr val="FFFFFF"/>
        </a:lt1>
        <a:dk2>
          <a:srgbClr val="003399"/>
        </a:dk2>
        <a:lt2>
          <a:srgbClr val="E5E5FF"/>
        </a:lt2>
        <a:accent1>
          <a:srgbClr val="0099CC"/>
        </a:accent1>
        <a:accent2>
          <a:srgbClr val="A886E0"/>
        </a:accent2>
        <a:accent3>
          <a:srgbClr val="AAADCA"/>
        </a:accent3>
        <a:accent4>
          <a:srgbClr val="DADADA"/>
        </a:accent4>
        <a:accent5>
          <a:srgbClr val="AACAE2"/>
        </a:accent5>
        <a:accent6>
          <a:srgbClr val="9879CB"/>
        </a:accent6>
        <a:hlink>
          <a:srgbClr val="FF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2">
        <a:dk1>
          <a:srgbClr val="3E3E5C"/>
        </a:dk1>
        <a:lt1>
          <a:srgbClr val="FFFFFF"/>
        </a:lt1>
        <a:dk2>
          <a:srgbClr val="666699"/>
        </a:dk2>
        <a:lt2>
          <a:srgbClr val="DFDFE9"/>
        </a:lt2>
        <a:accent1>
          <a:srgbClr val="CC66FF"/>
        </a:accent1>
        <a:accent2>
          <a:srgbClr val="679ACD"/>
        </a:accent2>
        <a:accent3>
          <a:srgbClr val="B8B8CA"/>
        </a:accent3>
        <a:accent4>
          <a:srgbClr val="DADADA"/>
        </a:accent4>
        <a:accent5>
          <a:srgbClr val="E2B8FF"/>
        </a:accent5>
        <a:accent6>
          <a:srgbClr val="5D8BBA"/>
        </a:accent6>
        <a:hlink>
          <a:srgbClr val="CCECFF"/>
        </a:hlink>
        <a:folHlink>
          <a:srgbClr val="CC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3">
        <a:dk1>
          <a:srgbClr val="2A5400"/>
        </a:dk1>
        <a:lt1>
          <a:srgbClr val="FFFFFF"/>
        </a:lt1>
        <a:dk2>
          <a:srgbClr val="4A9400"/>
        </a:dk2>
        <a:lt2>
          <a:srgbClr val="BAE8BA"/>
        </a:lt2>
        <a:accent1>
          <a:srgbClr val="33CC33"/>
        </a:accent1>
        <a:accent2>
          <a:srgbClr val="99CC00"/>
        </a:accent2>
        <a:accent3>
          <a:srgbClr val="B1C8AA"/>
        </a:accent3>
        <a:accent4>
          <a:srgbClr val="DADADA"/>
        </a:accent4>
        <a:accent5>
          <a:srgbClr val="ADE2AD"/>
        </a:accent5>
        <a:accent6>
          <a:srgbClr val="8AB900"/>
        </a:accent6>
        <a:hlink>
          <a:srgbClr val="99FF33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4">
        <a:dk1>
          <a:srgbClr val="000000"/>
        </a:dk1>
        <a:lt1>
          <a:srgbClr val="FFFFFF"/>
        </a:lt1>
        <a:dk2>
          <a:srgbClr val="51596D"/>
        </a:dk2>
        <a:lt2>
          <a:srgbClr val="DDDDDD"/>
        </a:lt2>
        <a:accent1>
          <a:srgbClr val="787E8A"/>
        </a:accent1>
        <a:accent2>
          <a:srgbClr val="339966"/>
        </a:accent2>
        <a:accent3>
          <a:srgbClr val="B3B5BA"/>
        </a:accent3>
        <a:accent4>
          <a:srgbClr val="DADADA"/>
        </a:accent4>
        <a:accent5>
          <a:srgbClr val="BEC0C4"/>
        </a:accent5>
        <a:accent6>
          <a:srgbClr val="2D8A5C"/>
        </a:accent6>
        <a:hlink>
          <a:srgbClr val="00FFFF"/>
        </a:hlink>
        <a:folHlink>
          <a:srgbClr val="74B6D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5">
        <a:dk1>
          <a:srgbClr val="5C1F00"/>
        </a:dk1>
        <a:lt1>
          <a:srgbClr val="FFFFFF"/>
        </a:lt1>
        <a:dk2>
          <a:srgbClr val="8C0000"/>
        </a:dk2>
        <a:lt2>
          <a:srgbClr val="DFD293"/>
        </a:lt2>
        <a:accent1>
          <a:srgbClr val="FF6845"/>
        </a:accent1>
        <a:accent2>
          <a:srgbClr val="BE7960"/>
        </a:accent2>
        <a:accent3>
          <a:srgbClr val="C5AAAA"/>
        </a:accent3>
        <a:accent4>
          <a:srgbClr val="DADADA"/>
        </a:accent4>
        <a:accent5>
          <a:srgbClr val="FFB9B0"/>
        </a:accent5>
        <a:accent6>
          <a:srgbClr val="AC6D56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6">
        <a:dk1>
          <a:srgbClr val="5E4444"/>
        </a:dk1>
        <a:lt1>
          <a:srgbClr val="F7F3F3"/>
        </a:lt1>
        <a:dk2>
          <a:srgbClr val="8A6362"/>
        </a:dk2>
        <a:lt2>
          <a:srgbClr val="D8C1BA"/>
        </a:lt2>
        <a:accent1>
          <a:srgbClr val="CC6600"/>
        </a:accent1>
        <a:accent2>
          <a:srgbClr val="C16059"/>
        </a:accent2>
        <a:accent3>
          <a:srgbClr val="C4B7B7"/>
        </a:accent3>
        <a:accent4>
          <a:srgbClr val="D3D0D0"/>
        </a:accent4>
        <a:accent5>
          <a:srgbClr val="E2B8AA"/>
        </a:accent5>
        <a:accent6>
          <a:srgbClr val="AF5650"/>
        </a:accent6>
        <a:hlink>
          <a:srgbClr val="FFCC00"/>
        </a:hlink>
        <a:folHlink>
          <a:srgbClr val="CBB55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7">
        <a:dk1>
          <a:srgbClr val="7F6737"/>
        </a:dk1>
        <a:lt1>
          <a:srgbClr val="FFFFFF"/>
        </a:lt1>
        <a:dk2>
          <a:srgbClr val="BFA673"/>
        </a:dk2>
        <a:lt2>
          <a:srgbClr val="E6E3AA"/>
        </a:lt2>
        <a:accent1>
          <a:srgbClr val="FFCC00"/>
        </a:accent1>
        <a:accent2>
          <a:srgbClr val="808000"/>
        </a:accent2>
        <a:accent3>
          <a:srgbClr val="DCD0BC"/>
        </a:accent3>
        <a:accent4>
          <a:srgbClr val="DADADA"/>
        </a:accent4>
        <a:accent5>
          <a:srgbClr val="FFE2AA"/>
        </a:accent5>
        <a:accent6>
          <a:srgbClr val="737300"/>
        </a:accent6>
        <a:hlink>
          <a:srgbClr val="784700"/>
        </a:hlink>
        <a:folHlink>
          <a:srgbClr val="9A7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чение 8">
        <a:dk1>
          <a:srgbClr val="4B2500"/>
        </a:dk1>
        <a:lt1>
          <a:srgbClr val="F9F0D3"/>
        </a:lt1>
        <a:dk2>
          <a:srgbClr val="A69564"/>
        </a:dk2>
        <a:lt2>
          <a:srgbClr val="EFDEAF"/>
        </a:lt2>
        <a:accent1>
          <a:srgbClr val="FFFFE3"/>
        </a:accent1>
        <a:accent2>
          <a:srgbClr val="BFBFA7"/>
        </a:accent2>
        <a:accent3>
          <a:srgbClr val="FBF6E6"/>
        </a:accent3>
        <a:accent4>
          <a:srgbClr val="3F1E00"/>
        </a:accent4>
        <a:accent5>
          <a:srgbClr val="FFFFEF"/>
        </a:accent5>
        <a:accent6>
          <a:srgbClr val="ADAD97"/>
        </a:accent6>
        <a:hlink>
          <a:srgbClr val="7B6D47"/>
        </a:hlink>
        <a:folHlink>
          <a:srgbClr val="A99D2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чение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CEC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E2F4FF"/>
        </a:accent5>
        <a:accent6>
          <a:srgbClr val="2D2D8A"/>
        </a:accent6>
        <a:hlink>
          <a:srgbClr val="6600FF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Начальная">
  <a:themeElements>
    <a:clrScheme name="Начальная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Начальная">
      <a:maj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Gill Sans MT"/>
        <a:ea typeface=""/>
        <a:cs typeface=""/>
        <a:font script="Grek" typeface="Calibri"/>
        <a:font script="Cyrl" typeface="Calibri"/>
        <a:font script="Jpan" typeface="ＭＳ Ｐゴシック"/>
        <a:font script="Hang" typeface="맑은 고딕"/>
        <a:font script="Hans" typeface="华文新魏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Начальная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Начальная">
  <a:themeElements>
    <a:clrScheme name="Начальная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Начальная">
      <a:maj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Gill Sans MT"/>
        <a:ea typeface=""/>
        <a:cs typeface=""/>
        <a:font script="Grek" typeface="Calibri"/>
        <a:font script="Cyrl" typeface="Calibri"/>
        <a:font script="Jpan" typeface="ＭＳ Ｐゴシック"/>
        <a:font script="Hang" typeface="맑은 고딕"/>
        <a:font script="Hans" typeface="华文新魏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Начальная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Начальная">
    <a:dk1>
      <a:sysClr val="windowText" lastClr="000000"/>
    </a:dk1>
    <a:lt1>
      <a:sysClr val="window" lastClr="FFFFFF"/>
    </a:lt1>
    <a:dk2>
      <a:srgbClr val="464653"/>
    </a:dk2>
    <a:lt2>
      <a:srgbClr val="DDE9EC"/>
    </a:lt2>
    <a:accent1>
      <a:srgbClr val="727CA3"/>
    </a:accent1>
    <a:accent2>
      <a:srgbClr val="9FB8CD"/>
    </a:accent2>
    <a:accent3>
      <a:srgbClr val="D2DA7A"/>
    </a:accent3>
    <a:accent4>
      <a:srgbClr val="FADA7A"/>
    </a:accent4>
    <a:accent5>
      <a:srgbClr val="B88472"/>
    </a:accent5>
    <a:accent6>
      <a:srgbClr val="8E736A"/>
    </a:accent6>
    <a:hlink>
      <a:srgbClr val="B292CA"/>
    </a:hlink>
    <a:folHlink>
      <a:srgbClr val="6B5680"/>
    </a:folHlink>
  </a:clrScheme>
</a:themeOverride>
</file>

<file path=ppt/theme/themeOverride2.xml><?xml version="1.0" encoding="utf-8"?>
<a:themeOverride xmlns:a="http://schemas.openxmlformats.org/drawingml/2006/main">
  <a:clrScheme name="Начальная">
    <a:dk1>
      <a:sysClr val="windowText" lastClr="000000"/>
    </a:dk1>
    <a:lt1>
      <a:sysClr val="window" lastClr="FFFFFF"/>
    </a:lt1>
    <a:dk2>
      <a:srgbClr val="464653"/>
    </a:dk2>
    <a:lt2>
      <a:srgbClr val="DDE9EC"/>
    </a:lt2>
    <a:accent1>
      <a:srgbClr val="727CA3"/>
    </a:accent1>
    <a:accent2>
      <a:srgbClr val="9FB8CD"/>
    </a:accent2>
    <a:accent3>
      <a:srgbClr val="D2DA7A"/>
    </a:accent3>
    <a:accent4>
      <a:srgbClr val="FADA7A"/>
    </a:accent4>
    <a:accent5>
      <a:srgbClr val="B88472"/>
    </a:accent5>
    <a:accent6>
      <a:srgbClr val="8E736A"/>
    </a:accent6>
    <a:hlink>
      <a:srgbClr val="B292CA"/>
    </a:hlink>
    <a:folHlink>
      <a:srgbClr val="6B5680"/>
    </a:folHlink>
  </a:clrScheme>
</a:themeOverride>
</file>

<file path=ppt/theme/themeOverride3.xml><?xml version="1.0" encoding="utf-8"?>
<a:themeOverride xmlns:a="http://schemas.openxmlformats.org/drawingml/2006/main">
  <a:clrScheme name="Начальная">
    <a:dk1>
      <a:sysClr val="windowText" lastClr="000000"/>
    </a:dk1>
    <a:lt1>
      <a:sysClr val="window" lastClr="FFFFFF"/>
    </a:lt1>
    <a:dk2>
      <a:srgbClr val="464653"/>
    </a:dk2>
    <a:lt2>
      <a:srgbClr val="DDE9EC"/>
    </a:lt2>
    <a:accent1>
      <a:srgbClr val="727CA3"/>
    </a:accent1>
    <a:accent2>
      <a:srgbClr val="9FB8CD"/>
    </a:accent2>
    <a:accent3>
      <a:srgbClr val="D2DA7A"/>
    </a:accent3>
    <a:accent4>
      <a:srgbClr val="FADA7A"/>
    </a:accent4>
    <a:accent5>
      <a:srgbClr val="B88472"/>
    </a:accent5>
    <a:accent6>
      <a:srgbClr val="8E736A"/>
    </a:accent6>
    <a:hlink>
      <a:srgbClr val="B292CA"/>
    </a:hlink>
    <a:folHlink>
      <a:srgbClr val="6B5680"/>
    </a:folHlink>
  </a:clrScheme>
</a:themeOverride>
</file>

<file path=ppt/theme/themeOverride4.xml><?xml version="1.0" encoding="utf-8"?>
<a:themeOverride xmlns:a="http://schemas.openxmlformats.org/drawingml/2006/main">
  <a:clrScheme name="Начальная">
    <a:dk1>
      <a:sysClr val="windowText" lastClr="000000"/>
    </a:dk1>
    <a:lt1>
      <a:sysClr val="window" lastClr="FFFFFF"/>
    </a:lt1>
    <a:dk2>
      <a:srgbClr val="464653"/>
    </a:dk2>
    <a:lt2>
      <a:srgbClr val="DDE9EC"/>
    </a:lt2>
    <a:accent1>
      <a:srgbClr val="727CA3"/>
    </a:accent1>
    <a:accent2>
      <a:srgbClr val="9FB8CD"/>
    </a:accent2>
    <a:accent3>
      <a:srgbClr val="D2DA7A"/>
    </a:accent3>
    <a:accent4>
      <a:srgbClr val="FADA7A"/>
    </a:accent4>
    <a:accent5>
      <a:srgbClr val="B88472"/>
    </a:accent5>
    <a:accent6>
      <a:srgbClr val="8E736A"/>
    </a:accent6>
    <a:hlink>
      <a:srgbClr val="B292CA"/>
    </a:hlink>
    <a:folHlink>
      <a:srgbClr val="6B56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5</TotalTime>
  <Words>1277</Words>
  <Application>Microsoft Office PowerPoint</Application>
  <PresentationFormat>Экран (4:3)</PresentationFormat>
  <Paragraphs>237</Paragraphs>
  <Slides>15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2" baseType="lpstr">
      <vt:lpstr>Тема Office</vt:lpstr>
      <vt:lpstr>Оформление по умолчанию</vt:lpstr>
      <vt:lpstr>1_Оформление по умолчанию</vt:lpstr>
      <vt:lpstr>2_Оформление по умолчанию</vt:lpstr>
      <vt:lpstr>4_Оформление по умолчанию</vt:lpstr>
      <vt:lpstr>3_Оформление по умолчанию</vt:lpstr>
      <vt:lpstr>6_Оформление по умолчанию</vt:lpstr>
      <vt:lpstr>7_Оформление по умолчанию</vt:lpstr>
      <vt:lpstr>8_Оформление по умолчанию</vt:lpstr>
      <vt:lpstr>9_Оформление по умолчанию</vt:lpstr>
      <vt:lpstr>La mente</vt:lpstr>
      <vt:lpstr>1_La mente</vt:lpstr>
      <vt:lpstr>5_La mente</vt:lpstr>
      <vt:lpstr>Течение</vt:lpstr>
      <vt:lpstr>1_Начальная</vt:lpstr>
      <vt:lpstr>Начальная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чему опасен ГРИПП?</vt:lpstr>
      <vt:lpstr>Сроки выживания вируса гриппа</vt:lpstr>
      <vt:lpstr>Специфическая профилактика:</vt:lpstr>
      <vt:lpstr>Контингенты, подлежащие  иммунизации против гриппа в РФ</vt:lpstr>
      <vt:lpstr>Инактивированные вакцины</vt:lpstr>
      <vt:lpstr>Презентация PowerPoint</vt:lpstr>
      <vt:lpstr>Презентация PowerPoint</vt:lpstr>
      <vt:lpstr>Презентация PowerPoint</vt:lpstr>
      <vt:lpstr>Мама, как ты думаешь, что для меня опаснее?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офья Михайловна</dc:creator>
  <cp:lastModifiedBy>Софья Михайловна</cp:lastModifiedBy>
  <cp:revision>8</cp:revision>
  <dcterms:created xsi:type="dcterms:W3CDTF">2021-10-12T06:21:23Z</dcterms:created>
  <dcterms:modified xsi:type="dcterms:W3CDTF">2021-10-15T08:45:06Z</dcterms:modified>
</cp:coreProperties>
</file>